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275" r:id="rId4"/>
    <p:sldId id="272" r:id="rId5"/>
    <p:sldId id="265" r:id="rId6"/>
    <p:sldId id="311" r:id="rId7"/>
    <p:sldId id="312" r:id="rId8"/>
    <p:sldId id="313" r:id="rId9"/>
    <p:sldId id="262" r:id="rId10"/>
    <p:sldId id="303" r:id="rId11"/>
    <p:sldId id="27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8A2C1B8-650F-4180-8ABC-7D7E36DB687D}">
          <p14:sldIdLst>
            <p14:sldId id="256"/>
            <p14:sldId id="275"/>
            <p14:sldId id="272"/>
            <p14:sldId id="265"/>
            <p14:sldId id="311"/>
            <p14:sldId id="312"/>
            <p14:sldId id="313"/>
            <p14:sldId id="262"/>
            <p14:sldId id="303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408" userDrawn="1">
          <p15:clr>
            <a:srgbClr val="A4A3A4"/>
          </p15:clr>
        </p15:guide>
        <p15:guide id="4" pos="7272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orient="horz" pos="7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E8400"/>
    <a:srgbClr val="000000"/>
    <a:srgbClr val="ED7D31"/>
    <a:srgbClr val="FECD86"/>
    <a:srgbClr val="1A232E"/>
    <a:srgbClr val="FE9900"/>
    <a:srgbClr val="232F3E"/>
    <a:srgbClr val="304156"/>
    <a:srgbClr val="FDAA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88542" autoAdjust="0"/>
  </p:normalViewPr>
  <p:slideViewPr>
    <p:cSldViewPr snapToGrid="0" showGuides="1">
      <p:cViewPr varScale="1">
        <p:scale>
          <a:sx n="56" d="100"/>
          <a:sy n="56" d="100"/>
        </p:scale>
        <p:origin x="944" y="44"/>
      </p:cViewPr>
      <p:guideLst>
        <p:guide orient="horz" pos="2160"/>
        <p:guide pos="3840"/>
        <p:guide pos="408"/>
        <p:guide pos="7272"/>
        <p:guide orient="horz" pos="3929"/>
        <p:guide orient="horz" pos="7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06448371732142E-2"/>
          <c:y val="7.6044568245125345E-3"/>
          <c:w val="0.92360633973064621"/>
          <c:h val="0.8187627486675584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E99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25B-4255-AA4E-FFF356DC8250}"/>
              </c:ext>
            </c:extLst>
          </c:dPt>
          <c:dPt>
            <c:idx val="1"/>
            <c:bubble3D val="0"/>
            <c:spPr>
              <a:solidFill>
                <a:srgbClr val="DE84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5B-4255-AA4E-FFF356DC8250}"/>
              </c:ext>
            </c:extLst>
          </c:dPt>
          <c:dPt>
            <c:idx val="2"/>
            <c:bubble3D val="0"/>
            <c:spPr>
              <a:solidFill>
                <a:srgbClr val="FECD8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825B-4255-AA4E-FFF356DC8250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2575E9-0506-4FE6-A78D-39573D6E9F70}" type="PERCENTAGE">
                      <a:rPr lang="en-US" sz="18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737616981765634"/>
                      <c:h val="0.1267463325124474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25B-4255-AA4E-FFF356DC825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33E824-F1D1-45DF-B7E7-EB8542E3B3A7}" type="PERCENTAGE">
                      <a:rPr lang="en-US" sz="1800" b="1" smtClean="0"/>
                      <a:pPr/>
                      <a:t>[PERCENTAG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25B-4255-AA4E-FFF356DC8250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08A2807-E723-42E9-A53E-5510CE80C2D0}" type="PERCENTAGE">
                      <a:rPr lang="en-US" sz="18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42551726604897"/>
                      <c:h val="9.304054919051663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25B-4255-AA4E-FFF356DC82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3"/>
                <c:pt idx="0">
                  <c:v>110754.16</c:v>
                </c:pt>
                <c:pt idx="1">
                  <c:v>92589.88</c:v>
                </c:pt>
                <c:pt idx="2">
                  <c:v>104243.33999999901</c:v>
                </c:pt>
              </c:numCache>
            </c:numRef>
          </c:val>
          <c:extLst>
            <c:ext xmlns:c15="http://schemas.microsoft.com/office/drawing/2012/chart" uri="{02D57815-91ED-43cb-92C2-25804820EDAC}">
              <c15:categoryFilterExceptions>
                <c15:categoryFilterException>
                  <c15:sqref>Sheet1!$B$5</c15:sqref>
                  <c15:spPr xmlns:c15="http://schemas.microsoft.com/office/drawing/2012/chart">
                    <a:solidFill>
                      <a:srgbClr val="FDAA31"/>
                    </a:solidFill>
                    <a:ln w="19050">
                      <a:noFill/>
                    </a:ln>
                    <a:effectLst/>
                  </c15:spPr>
                  <c15:bubble3D val="0"/>
                </c15:categoryFilterException>
              </c15:categoryFilterExceptions>
            </c:ext>
            <c:ext xmlns:c16="http://schemas.microsoft.com/office/drawing/2014/chart" uri="{C3380CC4-5D6E-409C-BE32-E72D297353CC}">
              <c16:uniqueId val="{00000000-825B-4255-AA4E-FFF356DC82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6406148612758095E-2"/>
          <c:y val="0.85883397503754555"/>
          <c:w val="0.9023028450257724"/>
          <c:h val="0.121621995947574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06448371732142E-2"/>
          <c:y val="7.6044568245125345E-3"/>
          <c:w val="0.92360633973064621"/>
          <c:h val="0.8187627486675584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ln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</c:spPr>
          <c:dPt>
            <c:idx val="0"/>
            <c:bubble3D val="0"/>
            <c:spPr>
              <a:solidFill>
                <a:srgbClr val="FE9900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2-825B-4255-AA4E-FFF356DC8250}"/>
              </c:ext>
            </c:extLst>
          </c:dPt>
          <c:dPt>
            <c:idx val="1"/>
            <c:bubble3D val="0"/>
            <c:spPr>
              <a:solidFill>
                <a:srgbClr val="DE8400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5-825B-4255-AA4E-FFF356DC8250}"/>
              </c:ext>
            </c:extLst>
          </c:dPt>
          <c:dPt>
            <c:idx val="2"/>
            <c:bubble3D val="0"/>
            <c:spPr>
              <a:solidFill>
                <a:srgbClr val="FECD86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4-825B-4255-AA4E-FFF356DC825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8-6D1F-4614-BCC5-DD23ECB8537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7-6D1F-4614-BCC5-DD23ECB8537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  <c:extLst>
              <c:ext xmlns:c16="http://schemas.microsoft.com/office/drawing/2014/chart" uri="{C3380CC4-5D6E-409C-BE32-E72D297353CC}">
                <c16:uniqueId val="{00000006-6D1F-4614-BCC5-DD23ECB8537F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2575E9-0506-4FE6-A78D-39573D6E9F70}" type="PERCENTAGE">
                      <a:rPr lang="en-US" sz="18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737616981765634"/>
                      <c:h val="0.1267463325124474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25B-4255-AA4E-FFF356DC825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33E824-F1D1-45DF-B7E7-EB8542E3B3A7}" type="PERCENTAGE">
                      <a:rPr lang="en-US" sz="1800" b="1" smtClean="0"/>
                      <a:pPr/>
                      <a:t>[PERCENTAG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25B-4255-AA4E-FFF356DC8250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08A2807-E723-42E9-A53E-5510CE80C2D0}" type="PERCENTAGE">
                      <a:rPr lang="en-US" sz="18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42551726604897"/>
                      <c:h val="9.304054919051663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25B-4255-AA4E-FFF356DC8250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F0BE353-FF19-48B5-A5B0-7194F61B9A5D}" type="PERCENTAGE">
                      <a:rPr lang="en-US" sz="20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914003040920107"/>
                      <c:h val="0.1280050547111918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6D1F-4614-BCC5-DD23ECB8537F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D732CDB-95DB-45D3-A733-2DDBE278E35F}" type="PERCENTAGE">
                      <a:rPr lang="en-US" sz="20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669760153484538"/>
                      <c:h val="9.653699974258415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D1F-4614-BCC5-DD23ECB8537F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C34103B-1D95-4744-9AB2-F0A7C8D49894}" type="PERCENTAGE">
                      <a:rPr lang="en-US" sz="2000" b="1" smtClean="0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60878789755337"/>
                      <c:h val="0.1000334502946516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D1F-4614-BCC5-DD23ECB85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Food and beverages</c:v>
                </c:pt>
                <c:pt idx="1">
                  <c:v>Sports and travel</c:v>
                </c:pt>
                <c:pt idx="2">
                  <c:v>Electronic accessories</c:v>
                </c:pt>
                <c:pt idx="3">
                  <c:v>Fashion accessories</c:v>
                </c:pt>
                <c:pt idx="4">
                  <c:v>Home and lifestyle</c:v>
                </c:pt>
                <c:pt idx="5">
                  <c:v>Health and beaut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3471.28</c:v>
                </c:pt>
                <c:pt idx="1">
                  <c:v>52497.93</c:v>
                </c:pt>
                <c:pt idx="2">
                  <c:v>51750.03</c:v>
                </c:pt>
                <c:pt idx="3">
                  <c:v>51719.9</c:v>
                </c:pt>
                <c:pt idx="4">
                  <c:v>51297.06</c:v>
                </c:pt>
                <c:pt idx="5">
                  <c:v>46851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5B-4255-AA4E-FFF356DC82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16254392932214284"/>
          <c:w val="0.33195435465836581"/>
          <c:h val="0.8357485914397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06448371732142E-2"/>
          <c:y val="7.6044568245125345E-3"/>
          <c:w val="0.92360633973064621"/>
          <c:h val="0.8187627486675584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241300">
                  <a:srgbClr val="FFFF00">
                    <a:alpha val="40000"/>
                  </a:srgbClr>
                </a:glow>
              </a:effectLst>
            </c:spPr>
            <c:extLst>
              <c:ext xmlns:c16="http://schemas.microsoft.com/office/drawing/2014/chart" uri="{C3380CC4-5D6E-409C-BE32-E72D297353CC}">
                <c16:uniqueId val="{00000002-825B-4255-AA4E-FFF356DC825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25B-4255-AA4E-FFF356DC825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825B-4255-AA4E-FFF356DC8250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2575E9-0506-4FE6-A78D-39573D6E9F70}" type="PERCENTAGE">
                      <a:rPr lang="en-US" sz="2000" b="1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58876075005259"/>
                      <c:h val="0.16646601078393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25B-4255-AA4E-FFF356DC825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33E824-F1D1-45DF-B7E7-EB8542E3B3A7}" type="PERCENTAGE">
                      <a:rPr lang="en-US" sz="2000" b="1" smtClean="0"/>
                      <a:pPr/>
                      <a:t>[PERCENTAG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25B-4255-AA4E-FFF356DC8250}"/>
                </c:ext>
              </c:extLst>
            </c:dLbl>
            <c:dLbl>
              <c:idx val="2"/>
              <c:layout>
                <c:manualLayout>
                  <c:x val="0.18683715461267111"/>
                  <c:y val="0.1700593708316183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08A2807-E723-42E9-A53E-5510CE80C2D0}" type="PERCENTAGE">
                      <a:rPr lang="en-US" sz="2000" b="1"/>
                      <a:pPr>
                        <a:defRPr/>
                      </a:pPr>
                      <a:t>[PERCENTA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158245928355676"/>
                      <c:h val="0.159473109679799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25B-4255-AA4E-FFF356DC82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Naypyitaw</c:v>
                </c:pt>
                <c:pt idx="1">
                  <c:v>Yangon</c:v>
                </c:pt>
                <c:pt idx="2">
                  <c:v>Mandala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5303.53</c:v>
                </c:pt>
                <c:pt idx="1">
                  <c:v>101143.21</c:v>
                </c:pt>
                <c:pt idx="2">
                  <c:v>101140.6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5B-4255-AA4E-FFF356DC82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198445615186295E-2"/>
          <c:y val="0.77110858130830573"/>
          <c:w val="0.87979711301060703"/>
          <c:h val="0.22539496813962676"/>
        </c:manualLayout>
      </c:layout>
      <c:overlay val="0"/>
      <c:spPr>
        <a:noFill/>
        <a:ln>
          <a:noFill/>
        </a:ln>
        <a:effectLst>
          <a:glow rad="101600">
            <a:schemeClr val="accent4">
              <a:satMod val="175000"/>
              <a:alpha val="40000"/>
            </a:schemeClr>
          </a:glow>
        </a:effectLst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blipFill dpi="0" rotWithShape="1">
                <a:blip xmlns:r="http://schemas.openxmlformats.org/officeDocument/2006/relationships" r:embed="rId3"/>
                <a:srcRect/>
                <a:tile tx="0" ty="0" sx="100000" sy="100000" flip="none" algn="tl"/>
              </a:blip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B68431-B8BC-4B32-AE1B-869BD5C0AE2A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AAC767-366D-4ECF-A6F1-3F953A2B992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53687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371515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2967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Source images :  </a:t>
            </a:r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'&gt;Business photo created by </a:t>
            </a:r>
            <a:r>
              <a:rPr lang="en-US" dirty="0" err="1"/>
              <a:t>drobotdean</a:t>
            </a:r>
            <a:r>
              <a:rPr lang="en-US" dirty="0"/>
              <a:t>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40480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54764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7490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55148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46143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135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/>
              <a:t>Source images : </a:t>
            </a:r>
            <a:r>
              <a:rPr lang="en-ID" dirty="0" err="1"/>
              <a:t>Powerpoint</a:t>
            </a:r>
            <a:r>
              <a:rPr lang="en-ID" dirty="0"/>
              <a:t> Stock Images</a:t>
            </a:r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AAC767-366D-4ECF-A6F1-3F953A2B992D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587252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F109A-21B3-4AED-9B24-15B8806268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618E2A-F2F3-49A2-957A-926577D786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35C57-F9A2-42D3-8CF6-72FD5830C9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F4BF8-B7EC-465F-9305-A35ABAC92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B490E-D1D2-415F-BE96-DBF73B7A1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27160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BC12B-ED7C-44E0-AB3A-1EB802D5B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03352-93B8-4706-A726-FC4909C459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FEE761-D03F-4B07-85AC-B758BA91AA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40DE4-BFF2-4DD8-AABF-5BB81C79D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AEB91-F9A3-4E8B-A448-854F82E7F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2156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44B229-B7CE-4C43-8647-8081E50135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FBD2CA-740E-45DF-922C-97B968AE69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AA082-F55B-447D-9919-EB2B6B7F19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924FD-A234-41C5-B382-0C5828AA3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113FB6-CC57-4B8C-BEE8-70259B9E2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17591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956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24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5134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0983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797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5236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2881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731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CE581-9ABB-4B86-A245-B74FEAE8C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B1AD9-6E0B-4B07-BC1B-FBCEE4DE8D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102214-BDC5-4F3B-A454-C64095FBF8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3DE5A2-E0F9-419E-9708-07448B86A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AE42E0-B021-449E-A119-E9D12DB30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11694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53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172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45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DDA0A-72D5-4A47-8608-90887338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A40760-859E-4D65-ADAF-C6525299D6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0495C0-E2FC-4568-BC2B-B312CDA009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BC27C3-8E1F-4007-884C-C63975517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8BB95-3657-4C2A-B4AB-7CEBA3A10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2835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B32E3-1CF2-4D7E-8107-DFBEA42E1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1A644C-2B15-4E7F-8664-B0584B7DB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FF0366-C28B-4BDA-845E-F27527A1C4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BD4F05-A819-4AF6-AB17-308DD67A12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B8503A-166E-472B-964E-5E7FC155F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62E2D-A7E0-4A99-BB6A-DF7C3D8EC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0828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B03A3-F4FC-45A7-A280-B1AABF0B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8C8917-0680-4D3C-B7BD-B9BCA1C90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4A027F-B654-43A0-A51D-FB6115F0B5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417CC2-BBC3-42A6-BEB1-84CDCF6BA0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D783B8-A2EE-4C6A-88C6-22322E1FD3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D3B6C0-BEAF-468F-8260-6988D8AE89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25079-910A-4AFC-85D3-0C244E9F9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A8DECD-AB56-46C3-A011-F7D96D5D1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72902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B48BF-F5EC-4208-8675-2D4022EC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820738-FA88-4028-BBC6-3BCEC18C37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A47AB-A97C-4756-84B3-0A56BA839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3BA8CB-41E4-464D-99C5-0162A8E47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75960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90BD16-A135-48C0-ACF6-A0668E2B38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DB9B6-5C40-4AEA-A88A-493A90DD4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D0684-089C-4E8D-A267-EAC47A42E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855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7592D-43E8-4B55-B7CD-C005EDA04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301B98-1FCE-4191-8E6D-6D0A24A7C7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6C4DFA-7C12-404F-89A0-AE4D03DC6E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E5D3DF-A55B-416A-B7AC-6D47BBE48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E54116-9698-4FC1-9A65-8AE4E8E0A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32455F-A027-49C8-A8E9-6B66C2D2B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869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672E9-95D4-4476-AA0D-C60224FDB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C948E3-B2D4-43CA-B95C-D20133AA97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98E69-A328-4467-A137-036744F78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391798-B039-4C8A-A0E9-EDF9AA1522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68B1BD-21A4-46E2-A404-D597B3EF071F}" type="datetimeFigureOut">
              <a:rPr lang="en-ID" smtClean="0"/>
              <a:t>15/05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4D96C0-F3C2-412C-997D-62FB23B37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ACB663-09ED-4366-AC4C-86761BB2E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8652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5DE22D-EF3A-4FAB-A025-F27A1269D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624" y="365126"/>
            <a:ext cx="11090753" cy="874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035472-4EC2-4C9C-81D2-F8D09A70BB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623" y="1453019"/>
            <a:ext cx="11090753" cy="4723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A03086-C061-4825-BFB5-39C4669F6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0794" y="6356350"/>
            <a:ext cx="4305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A4950-2E50-4A2B-B8A2-4ABC9E12943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62869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31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5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515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Picture 105" descr="Hands of person wearing gray sweater typing on laptop with a tablet, digital pen, and cup of coffee">
            <a:extLst>
              <a:ext uri="{FF2B5EF4-FFF2-40B4-BE49-F238E27FC236}">
                <a16:creationId xmlns:a16="http://schemas.microsoft.com/office/drawing/2014/main" id="{BE6625A1-B16C-4DA9-882F-5BA1511647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806"/>
            <a:ext cx="10271669" cy="6858000"/>
          </a:xfrm>
          <a:prstGeom prst="rect">
            <a:avLst/>
          </a:prstGeom>
        </p:spPr>
      </p:pic>
      <p:pic>
        <p:nvPicPr>
          <p:cNvPr id="103" name="Picture 2" descr="Image result for 24slides logo">
            <a:extLst>
              <a:ext uri="{FF2B5EF4-FFF2-40B4-BE49-F238E27FC236}">
                <a16:creationId xmlns:a16="http://schemas.microsoft.com/office/drawing/2014/main" id="{A8FBF9DD-8E3C-4661-8E4B-646A7C796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5519" y="6193180"/>
            <a:ext cx="1272631" cy="480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857D70E-E2C7-43C8-A60F-8391144D08B7}"/>
              </a:ext>
            </a:extLst>
          </p:cNvPr>
          <p:cNvSpPr/>
          <p:nvPr/>
        </p:nvSpPr>
        <p:spPr>
          <a:xfrm>
            <a:off x="0" y="-11806"/>
            <a:ext cx="10271669" cy="6869806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: Top Corners Rounded 99">
            <a:extLst>
              <a:ext uri="{FF2B5EF4-FFF2-40B4-BE49-F238E27FC236}">
                <a16:creationId xmlns:a16="http://schemas.microsoft.com/office/drawing/2014/main" id="{A087BAB0-877E-4C77-9D35-1F2E7812167F}"/>
              </a:ext>
            </a:extLst>
          </p:cNvPr>
          <p:cNvSpPr/>
          <p:nvPr/>
        </p:nvSpPr>
        <p:spPr>
          <a:xfrm rot="5400000">
            <a:off x="3484179" y="777945"/>
            <a:ext cx="1781941" cy="8750304"/>
          </a:xfrm>
          <a:prstGeom prst="round2SameRect">
            <a:avLst>
              <a:gd name="adj1" fmla="val 19117"/>
              <a:gd name="adj2" fmla="val 0"/>
            </a:avLst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D7DD958-2E54-436B-8747-9A9DAA4BECE8}"/>
              </a:ext>
            </a:extLst>
          </p:cNvPr>
          <p:cNvSpPr/>
          <p:nvPr/>
        </p:nvSpPr>
        <p:spPr>
          <a:xfrm>
            <a:off x="647700" y="4582461"/>
            <a:ext cx="7882842" cy="1141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An analysis on some products of Amazon in three different cities which are Mandalay, Yangon, Naypyitaw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EF1ECE-ED00-4094-A343-4F295FED8C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00" y="1580476"/>
            <a:ext cx="7578826" cy="1507450"/>
          </a:xfrm>
        </p:spPr>
        <p:txBody>
          <a:bodyPr lIns="0" tIns="0" rIns="0" bIns="0" anchor="t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ID" sz="5400" dirty="0">
                <a:solidFill>
                  <a:schemeClr val="bg1"/>
                </a:solidFill>
              </a:rPr>
              <a:t>Amazon Dataset Analysis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2EB59B6-7FF3-4365-A7ED-5ABC8BDE8160}"/>
              </a:ext>
            </a:extLst>
          </p:cNvPr>
          <p:cNvSpPr/>
          <p:nvPr/>
        </p:nvSpPr>
        <p:spPr>
          <a:xfrm>
            <a:off x="4421449" y="-3059"/>
            <a:ext cx="5828266" cy="1325524"/>
          </a:xfrm>
          <a:custGeom>
            <a:avLst/>
            <a:gdLst>
              <a:gd name="connsiteX0" fmla="*/ 2400706 w 2640567"/>
              <a:gd name="connsiteY0" fmla="*/ 4166 h 600545"/>
              <a:gd name="connsiteX1" fmla="*/ 2360701 w 2640567"/>
              <a:gd name="connsiteY1" fmla="*/ 10005 h 600545"/>
              <a:gd name="connsiteX2" fmla="*/ 2147607 w 2640567"/>
              <a:gd name="connsiteY2" fmla="*/ 124552 h 600545"/>
              <a:gd name="connsiteX3" fmla="*/ 2219045 w 2640567"/>
              <a:gd name="connsiteY3" fmla="*/ 122161 h 600545"/>
              <a:gd name="connsiteX4" fmla="*/ 2504185 w 2640567"/>
              <a:gd name="connsiteY4" fmla="*/ 141478 h 600545"/>
              <a:gd name="connsiteX5" fmla="*/ 2444054 w 2640567"/>
              <a:gd name="connsiteY5" fmla="*/ 418770 h 600545"/>
              <a:gd name="connsiteX6" fmla="*/ 2433091 w 2640567"/>
              <a:gd name="connsiteY6" fmla="*/ 492341 h 600545"/>
              <a:gd name="connsiteX7" fmla="*/ 2589272 w 2640567"/>
              <a:gd name="connsiteY7" fmla="*/ 310576 h 600545"/>
              <a:gd name="connsiteX8" fmla="*/ 2635754 w 2640567"/>
              <a:gd name="connsiteY8" fmla="*/ 51943 h 600545"/>
              <a:gd name="connsiteX9" fmla="*/ 2400706 w 2640567"/>
              <a:gd name="connsiteY9" fmla="*/ 4166 h 600545"/>
              <a:gd name="connsiteX10" fmla="*/ 8026 w 2640567"/>
              <a:gd name="connsiteY10" fmla="*/ 63373 h 600545"/>
              <a:gd name="connsiteX11" fmla="*/ 97561 w 2640567"/>
              <a:gd name="connsiteY11" fmla="*/ 175492 h 600545"/>
              <a:gd name="connsiteX12" fmla="*/ 655726 w 2640567"/>
              <a:gd name="connsiteY12" fmla="*/ 488788 h 600545"/>
              <a:gd name="connsiteX13" fmla="*/ 789076 w 2640567"/>
              <a:gd name="connsiteY13" fmla="*/ 531746 h 600545"/>
              <a:gd name="connsiteX14" fmla="*/ 1636801 w 2640567"/>
              <a:gd name="connsiteY14" fmla="*/ 575333 h 600545"/>
              <a:gd name="connsiteX15" fmla="*/ 1777771 w 2640567"/>
              <a:gd name="connsiteY15" fmla="*/ 546415 h 600545"/>
              <a:gd name="connsiteX16" fmla="*/ 2348280 w 2640567"/>
              <a:gd name="connsiteY16" fmla="*/ 302508 h 600545"/>
              <a:gd name="connsiteX17" fmla="*/ 2408326 w 2640567"/>
              <a:gd name="connsiteY17" fmla="*/ 239776 h 600545"/>
              <a:gd name="connsiteX18" fmla="*/ 2302941 w 2640567"/>
              <a:gd name="connsiteY18" fmla="*/ 220126 h 600545"/>
              <a:gd name="connsiteX19" fmla="*/ 2002561 w 2640567"/>
              <a:gd name="connsiteY19" fmla="*/ 320367 h 600545"/>
              <a:gd name="connsiteX20" fmla="*/ 1116736 w 2640567"/>
              <a:gd name="connsiteY20" fmla="*/ 397510 h 600545"/>
              <a:gd name="connsiteX21" fmla="*/ 70367 w 2640567"/>
              <a:gd name="connsiteY21" fmla="*/ 75413 h 600545"/>
              <a:gd name="connsiteX22" fmla="*/ 8026 w 2640567"/>
              <a:gd name="connsiteY22" fmla="*/ 63373 h 60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640567" h="600545">
                <a:moveTo>
                  <a:pt x="2400706" y="4166"/>
                </a:moveTo>
                <a:cubicBezTo>
                  <a:pt x="2397562" y="4928"/>
                  <a:pt x="2379560" y="7557"/>
                  <a:pt x="2360701" y="10005"/>
                </a:cubicBezTo>
                <a:cubicBezTo>
                  <a:pt x="2237923" y="25949"/>
                  <a:pt x="2111003" y="94177"/>
                  <a:pt x="2147607" y="124552"/>
                </a:cubicBezTo>
                <a:cubicBezTo>
                  <a:pt x="2152551" y="128658"/>
                  <a:pt x="2165029" y="128238"/>
                  <a:pt x="2219045" y="122161"/>
                </a:cubicBezTo>
                <a:cubicBezTo>
                  <a:pt x="2370064" y="105188"/>
                  <a:pt x="2486850" y="113103"/>
                  <a:pt x="2504185" y="141478"/>
                </a:cubicBezTo>
                <a:cubicBezTo>
                  <a:pt x="2523349" y="172844"/>
                  <a:pt x="2502509" y="268923"/>
                  <a:pt x="2444054" y="418770"/>
                </a:cubicBezTo>
                <a:cubicBezTo>
                  <a:pt x="2420651" y="478758"/>
                  <a:pt x="2419146" y="488836"/>
                  <a:pt x="2433091" y="492341"/>
                </a:cubicBezTo>
                <a:cubicBezTo>
                  <a:pt x="2469305" y="501428"/>
                  <a:pt x="2543133" y="415503"/>
                  <a:pt x="2589272" y="310576"/>
                </a:cubicBezTo>
                <a:cubicBezTo>
                  <a:pt x="2628601" y="221117"/>
                  <a:pt x="2650985" y="96596"/>
                  <a:pt x="2635754" y="51943"/>
                </a:cubicBezTo>
                <a:cubicBezTo>
                  <a:pt x="2625086" y="20654"/>
                  <a:pt x="2465943" y="-11693"/>
                  <a:pt x="2400706" y="4166"/>
                </a:cubicBezTo>
                <a:moveTo>
                  <a:pt x="8026" y="63373"/>
                </a:moveTo>
                <a:cubicBezTo>
                  <a:pt x="-11405" y="82804"/>
                  <a:pt x="-633" y="96292"/>
                  <a:pt x="97561" y="175492"/>
                </a:cubicBezTo>
                <a:cubicBezTo>
                  <a:pt x="266658" y="311871"/>
                  <a:pt x="449538" y="414522"/>
                  <a:pt x="655726" y="488788"/>
                </a:cubicBezTo>
                <a:cubicBezTo>
                  <a:pt x="699826" y="504676"/>
                  <a:pt x="723953" y="512448"/>
                  <a:pt x="789076" y="531746"/>
                </a:cubicBezTo>
                <a:cubicBezTo>
                  <a:pt x="1032011" y="603736"/>
                  <a:pt x="1365624" y="620891"/>
                  <a:pt x="1636801" y="575333"/>
                </a:cubicBezTo>
                <a:cubicBezTo>
                  <a:pt x="1692227" y="566017"/>
                  <a:pt x="1704971" y="563407"/>
                  <a:pt x="1777771" y="546415"/>
                </a:cubicBezTo>
                <a:cubicBezTo>
                  <a:pt x="1985101" y="498037"/>
                  <a:pt x="2185793" y="412236"/>
                  <a:pt x="2348280" y="302508"/>
                </a:cubicBezTo>
                <a:cubicBezTo>
                  <a:pt x="2398829" y="268380"/>
                  <a:pt x="2408326" y="258455"/>
                  <a:pt x="2408326" y="239776"/>
                </a:cubicBezTo>
                <a:cubicBezTo>
                  <a:pt x="2408326" y="196704"/>
                  <a:pt x="2376322" y="190741"/>
                  <a:pt x="2302941" y="220126"/>
                </a:cubicBezTo>
                <a:cubicBezTo>
                  <a:pt x="2201738" y="260674"/>
                  <a:pt x="2140187" y="281210"/>
                  <a:pt x="2002561" y="320367"/>
                </a:cubicBezTo>
                <a:cubicBezTo>
                  <a:pt x="1753139" y="391319"/>
                  <a:pt x="1379225" y="423885"/>
                  <a:pt x="1116736" y="397510"/>
                </a:cubicBezTo>
                <a:cubicBezTo>
                  <a:pt x="731040" y="358743"/>
                  <a:pt x="381710" y="251216"/>
                  <a:pt x="70367" y="75413"/>
                </a:cubicBezTo>
                <a:cubicBezTo>
                  <a:pt x="32610" y="54086"/>
                  <a:pt x="19789" y="51610"/>
                  <a:pt x="8026" y="63373"/>
                </a:cubicBezTo>
              </a:path>
            </a:pathLst>
          </a:custGeom>
          <a:solidFill>
            <a:schemeClr val="bg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4CDFA2A-FB34-4121-9BAD-CAF9D9AE8B97}"/>
              </a:ext>
            </a:extLst>
          </p:cNvPr>
          <p:cNvSpPr/>
          <p:nvPr/>
        </p:nvSpPr>
        <p:spPr>
          <a:xfrm>
            <a:off x="647700" y="3894587"/>
            <a:ext cx="2042886" cy="774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8C58D56-97C9-486F-A6EE-11E48E7911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23" y="4107003"/>
            <a:ext cx="1374040" cy="414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12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034F297F-6DA0-4F61-B941-540E3F8263F8}"/>
              </a:ext>
            </a:extLst>
          </p:cNvPr>
          <p:cNvSpPr/>
          <p:nvPr/>
        </p:nvSpPr>
        <p:spPr>
          <a:xfrm>
            <a:off x="-2891" y="0"/>
            <a:ext cx="11547190" cy="623728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3C577D1-77E4-4CEA-87D4-05E7482A39C0}"/>
              </a:ext>
            </a:extLst>
          </p:cNvPr>
          <p:cNvSpPr/>
          <p:nvPr/>
        </p:nvSpPr>
        <p:spPr>
          <a:xfrm>
            <a:off x="0" y="-867229"/>
            <a:ext cx="667657" cy="667657"/>
          </a:xfrm>
          <a:prstGeom prst="ellipse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1FF3942-D036-41B8-8DE7-ACF0A493F059}"/>
              </a:ext>
            </a:extLst>
          </p:cNvPr>
          <p:cNvSpPr/>
          <p:nvPr/>
        </p:nvSpPr>
        <p:spPr>
          <a:xfrm>
            <a:off x="880533" y="-867229"/>
            <a:ext cx="667657" cy="667657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0A8AAFC-D307-4F85-A448-E910FF90B368}"/>
              </a:ext>
            </a:extLst>
          </p:cNvPr>
          <p:cNvSpPr/>
          <p:nvPr/>
        </p:nvSpPr>
        <p:spPr>
          <a:xfrm>
            <a:off x="1761066" y="-867229"/>
            <a:ext cx="667657" cy="667657"/>
          </a:xfrm>
          <a:prstGeom prst="ellipse">
            <a:avLst/>
          </a:prstGeom>
          <a:solidFill>
            <a:srgbClr val="232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667657" y="1200713"/>
            <a:ext cx="4043665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endParaRPr lang="en-ID" sz="4000" dirty="0">
              <a:solidFill>
                <a:schemeClr val="bg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33B61B-A66C-4D9B-ADA5-5BB77717EF33}"/>
              </a:ext>
            </a:extLst>
          </p:cNvPr>
          <p:cNvSpPr/>
          <p:nvPr/>
        </p:nvSpPr>
        <p:spPr>
          <a:xfrm>
            <a:off x="11405861" y="6357542"/>
            <a:ext cx="337513" cy="337513"/>
          </a:xfrm>
          <a:prstGeom prst="ellipse">
            <a:avLst/>
          </a:prstGeom>
          <a:solidFill>
            <a:srgbClr val="232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473136DB-9AC0-4F90-9DFA-703BE3224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10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4C0A0DB-41E0-46F6-8533-1B11BDE9FB28}"/>
              </a:ext>
            </a:extLst>
          </p:cNvPr>
          <p:cNvSpPr/>
          <p:nvPr/>
        </p:nvSpPr>
        <p:spPr>
          <a:xfrm>
            <a:off x="647700" y="2099749"/>
            <a:ext cx="4038600" cy="229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C110FC6-9134-45CF-989A-42E628507CD5}"/>
              </a:ext>
            </a:extLst>
          </p:cNvPr>
          <p:cNvSpPr/>
          <p:nvPr/>
        </p:nvSpPr>
        <p:spPr>
          <a:xfrm>
            <a:off x="3550921" y="2347198"/>
            <a:ext cx="3864124" cy="15637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6DEAE2-8552-36B6-A471-491EBADAF11D}"/>
              </a:ext>
            </a:extLst>
          </p:cNvPr>
          <p:cNvSpPr txBox="1"/>
          <p:nvPr/>
        </p:nvSpPr>
        <p:spPr>
          <a:xfrm>
            <a:off x="1303021" y="1006383"/>
            <a:ext cx="947547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u="sng" dirty="0" err="1">
                <a:solidFill>
                  <a:schemeClr val="bg1"/>
                </a:solidFill>
              </a:rPr>
              <a:t>That,s</a:t>
            </a:r>
            <a:r>
              <a:rPr lang="en-US" sz="6600" b="1" u="sng" dirty="0">
                <a:solidFill>
                  <a:schemeClr val="bg1"/>
                </a:solidFill>
              </a:rPr>
              <a:t> all from my analysis</a:t>
            </a:r>
            <a:endParaRPr lang="en-IN" sz="6600" b="1" u="sng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7E16D1-B221-D7F0-2BE7-C4F1F3A6CB40}"/>
              </a:ext>
            </a:extLst>
          </p:cNvPr>
          <p:cNvSpPr txBox="1"/>
          <p:nvPr/>
        </p:nvSpPr>
        <p:spPr>
          <a:xfrm>
            <a:off x="4000500" y="2404348"/>
            <a:ext cx="329184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i="1" dirty="0"/>
              <a:t>THANK YOU VERY MUCH</a:t>
            </a:r>
            <a:endParaRPr lang="en-IN" sz="4400" b="1" i="1" dirty="0"/>
          </a:p>
        </p:txBody>
      </p:sp>
    </p:spTree>
    <p:extLst>
      <p:ext uri="{BB962C8B-B14F-4D97-AF65-F5344CB8AC3E}">
        <p14:creationId xmlns:p14="http://schemas.microsoft.com/office/powerpoint/2010/main" val="2693204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667657" y="290515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4000" dirty="0"/>
              <a:t>Quote Slide</a:t>
            </a:r>
            <a:endParaRPr lang="en-ID" sz="4000" dirty="0"/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DED406A3-6373-4D7A-9EBF-B1A3AEA1458D}"/>
              </a:ext>
            </a:extLst>
          </p:cNvPr>
          <p:cNvSpPr/>
          <p:nvPr/>
        </p:nvSpPr>
        <p:spPr>
          <a:xfrm rot="16200000" flipH="1">
            <a:off x="2941957" y="-346682"/>
            <a:ext cx="3420112" cy="8008623"/>
          </a:xfrm>
          <a:prstGeom prst="round2SameRect">
            <a:avLst>
              <a:gd name="adj1" fmla="val 8936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phic 7" descr="Open quotation mark with solid fill">
            <a:extLst>
              <a:ext uri="{FF2B5EF4-FFF2-40B4-BE49-F238E27FC236}">
                <a16:creationId xmlns:a16="http://schemas.microsoft.com/office/drawing/2014/main" id="{9BD0A460-3D62-4843-BD40-CFD9A88011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504" y="1108314"/>
            <a:ext cx="1837123" cy="1837123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1CCCE84-A082-4435-A188-269D4D526300}"/>
              </a:ext>
            </a:extLst>
          </p:cNvPr>
          <p:cNvSpPr txBox="1">
            <a:spLocks/>
          </p:cNvSpPr>
          <p:nvPr/>
        </p:nvSpPr>
        <p:spPr>
          <a:xfrm>
            <a:off x="1310281" y="2185714"/>
            <a:ext cx="5374397" cy="2943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i="1" dirty="0">
                <a:latin typeface="Segoe UI" panose="020B0502040204020203" pitchFamily="34" charset="0"/>
                <a:cs typeface="Segoe UI" panose="020B0502040204020203" pitchFamily="34" charset="0"/>
              </a:rPr>
              <a:t>There is 3 different cities which are divided into 3 different branches. That are along with number of orders -  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A-Yangon-340</a:t>
            </a:r>
          </a:p>
          <a:p>
            <a:pPr>
              <a:lnSpc>
                <a:spcPct val="100000"/>
              </a:lnSpc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                     B-Mandalay-332</a:t>
            </a:r>
          </a:p>
          <a:p>
            <a:pPr>
              <a:lnSpc>
                <a:spcPct val="100000"/>
              </a:lnSpc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                       C-Naypyitaw-328</a:t>
            </a: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118090A9-C0D4-4381-98FD-04AB28DB2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2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E582354-81A1-4963-9413-4199C5BAD690}"/>
              </a:ext>
            </a:extLst>
          </p:cNvPr>
          <p:cNvSpPr/>
          <p:nvPr/>
        </p:nvSpPr>
        <p:spPr>
          <a:xfrm>
            <a:off x="1141677" y="4889214"/>
            <a:ext cx="2042886" cy="774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07FBB12-74CC-481A-B1C5-906B405B8B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100" y="5101630"/>
            <a:ext cx="1374040" cy="414489"/>
          </a:xfrm>
          <a:prstGeom prst="rect">
            <a:avLst/>
          </a:prstGeom>
        </p:spPr>
      </p:pic>
      <p:pic>
        <p:nvPicPr>
          <p:cNvPr id="6" name="Picture 5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D0101EF0-D8FD-4B52-8273-69ECCAAD304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84" r="16736"/>
          <a:stretch/>
        </p:blipFill>
        <p:spPr>
          <a:xfrm flipH="1">
            <a:off x="6529138" y="679787"/>
            <a:ext cx="4983630" cy="5544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022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164969" y="-96789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endParaRPr lang="en-ID" sz="4000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4A7B9BF-8BAA-4D7B-B034-A017F30791F5}"/>
              </a:ext>
            </a:extLst>
          </p:cNvPr>
          <p:cNvSpPr/>
          <p:nvPr/>
        </p:nvSpPr>
        <p:spPr>
          <a:xfrm>
            <a:off x="1432786" y="2041702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endParaRPr lang="en-US" sz="16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85C97123-AB5E-4145-B936-53A9C20F9421}"/>
              </a:ext>
            </a:extLst>
          </p:cNvPr>
          <p:cNvSpPr/>
          <p:nvPr/>
        </p:nvSpPr>
        <p:spPr>
          <a:xfrm>
            <a:off x="667657" y="2984450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DA7FED7F-9683-44B9-B501-D906DE6BBDEE}"/>
              </a:ext>
            </a:extLst>
          </p:cNvPr>
          <p:cNvSpPr/>
          <p:nvPr/>
        </p:nvSpPr>
        <p:spPr>
          <a:xfrm>
            <a:off x="647700" y="2984450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D38451A-3AEB-445C-B82B-1BF073F9FEB6}"/>
              </a:ext>
            </a:extLst>
          </p:cNvPr>
          <p:cNvSpPr/>
          <p:nvPr/>
        </p:nvSpPr>
        <p:spPr>
          <a:xfrm>
            <a:off x="1432786" y="3116328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ectronic Accessories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A6CA2633-BBA3-4684-B613-D8E86034791A}"/>
              </a:ext>
            </a:extLst>
          </p:cNvPr>
          <p:cNvSpPr/>
          <p:nvPr/>
        </p:nvSpPr>
        <p:spPr>
          <a:xfrm>
            <a:off x="667657" y="4059076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A1ECE8ED-2159-4E5A-92F4-B1A6336A3FD8}"/>
              </a:ext>
            </a:extLst>
          </p:cNvPr>
          <p:cNvSpPr/>
          <p:nvPr/>
        </p:nvSpPr>
        <p:spPr>
          <a:xfrm>
            <a:off x="647700" y="4059076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557EE4B-CB99-4174-9A9F-8FA4EAAFF58F}"/>
              </a:ext>
            </a:extLst>
          </p:cNvPr>
          <p:cNvSpPr/>
          <p:nvPr/>
        </p:nvSpPr>
        <p:spPr>
          <a:xfrm>
            <a:off x="1432786" y="4190954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orts and Travel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27CBEA2F-8E93-470F-8D64-9726DACA87F7}"/>
              </a:ext>
            </a:extLst>
          </p:cNvPr>
          <p:cNvSpPr/>
          <p:nvPr/>
        </p:nvSpPr>
        <p:spPr>
          <a:xfrm>
            <a:off x="667657" y="513370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129B7384-5713-462B-B485-F22BD2A22A01}"/>
              </a:ext>
            </a:extLst>
          </p:cNvPr>
          <p:cNvSpPr/>
          <p:nvPr/>
        </p:nvSpPr>
        <p:spPr>
          <a:xfrm>
            <a:off x="647700" y="513370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3949954-1B35-4BBC-A210-A18BDDD60AC3}"/>
              </a:ext>
            </a:extLst>
          </p:cNvPr>
          <p:cNvSpPr/>
          <p:nvPr/>
        </p:nvSpPr>
        <p:spPr>
          <a:xfrm>
            <a:off x="1432786" y="526558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me and Lifestyle</a:t>
            </a: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B2EA09AC-D474-45D7-BEBB-25EC72D9ED36}"/>
              </a:ext>
            </a:extLst>
          </p:cNvPr>
          <p:cNvSpPr/>
          <p:nvPr/>
        </p:nvSpPr>
        <p:spPr>
          <a:xfrm>
            <a:off x="4876800" y="302005"/>
            <a:ext cx="1474062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latin typeface="Segoe UI" panose="020B0502040204020203" pitchFamily="34" charset="0"/>
                <a:cs typeface="Segoe UI" panose="020B0502040204020203" pitchFamily="34" charset="0"/>
              </a:rPr>
              <a:t>Yangon</a:t>
            </a:r>
            <a:r>
              <a:rPr lang="en-US" dirty="0"/>
              <a:t> </a:t>
            </a:r>
          </a:p>
        </p:txBody>
      </p:sp>
      <p:sp>
        <p:nvSpPr>
          <p:cNvPr id="123" name="Rectangle: Top Corners Rounded 122">
            <a:extLst>
              <a:ext uri="{FF2B5EF4-FFF2-40B4-BE49-F238E27FC236}">
                <a16:creationId xmlns:a16="http://schemas.microsoft.com/office/drawing/2014/main" id="{0D1A7D32-03ED-4AA1-8E1F-0D1C80A22AAE}"/>
              </a:ext>
            </a:extLst>
          </p:cNvPr>
          <p:cNvSpPr/>
          <p:nvPr/>
        </p:nvSpPr>
        <p:spPr>
          <a:xfrm>
            <a:off x="6612202" y="302005"/>
            <a:ext cx="1474062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latin typeface="Segoe UI" panose="020B0502040204020203" pitchFamily="34" charset="0"/>
                <a:cs typeface="Segoe UI" panose="020B0502040204020203" pitchFamily="34" charset="0"/>
              </a:rPr>
              <a:t>Mandalay</a:t>
            </a:r>
            <a:endParaRPr lang="en-US" dirty="0"/>
          </a:p>
        </p:txBody>
      </p:sp>
      <p:sp>
        <p:nvSpPr>
          <p:cNvPr id="124" name="Rectangle: Top Corners Rounded 123">
            <a:extLst>
              <a:ext uri="{FF2B5EF4-FFF2-40B4-BE49-F238E27FC236}">
                <a16:creationId xmlns:a16="http://schemas.microsoft.com/office/drawing/2014/main" id="{1E617B4B-9417-406D-8204-4E2CF26C4765}"/>
              </a:ext>
            </a:extLst>
          </p:cNvPr>
          <p:cNvSpPr/>
          <p:nvPr/>
        </p:nvSpPr>
        <p:spPr>
          <a:xfrm>
            <a:off x="8347604" y="302005"/>
            <a:ext cx="1474062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latin typeface="Segoe UI" panose="020B0502040204020203" pitchFamily="34" charset="0"/>
                <a:cs typeface="Segoe UI" panose="020B0502040204020203" pitchFamily="34" charset="0"/>
              </a:rPr>
              <a:t>Naypyitaw</a:t>
            </a:r>
            <a:endParaRPr lang="en-US" dirty="0"/>
          </a:p>
        </p:txBody>
      </p:sp>
      <p:sp>
        <p:nvSpPr>
          <p:cNvPr id="125" name="Rectangle: Top Corners Rounded 124">
            <a:extLst>
              <a:ext uri="{FF2B5EF4-FFF2-40B4-BE49-F238E27FC236}">
                <a16:creationId xmlns:a16="http://schemas.microsoft.com/office/drawing/2014/main" id="{FA2DD85A-D468-4E74-B784-8BDC160DA8AA}"/>
              </a:ext>
            </a:extLst>
          </p:cNvPr>
          <p:cNvSpPr/>
          <p:nvPr/>
        </p:nvSpPr>
        <p:spPr>
          <a:xfrm>
            <a:off x="10083007" y="302005"/>
            <a:ext cx="1474062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Tota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F1539F-586C-4AB1-97D7-718D15B0C344}"/>
              </a:ext>
            </a:extLst>
          </p:cNvPr>
          <p:cNvCxnSpPr/>
          <p:nvPr/>
        </p:nvCxnSpPr>
        <p:spPr>
          <a:xfrm>
            <a:off x="3611880" y="2784594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3958621-6384-4510-B9A9-D40C5858021E}"/>
              </a:ext>
            </a:extLst>
          </p:cNvPr>
          <p:cNvCxnSpPr/>
          <p:nvPr/>
        </p:nvCxnSpPr>
        <p:spPr>
          <a:xfrm>
            <a:off x="3611880" y="3859220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5FD664A-9E0E-41BA-B76F-5ED450066D49}"/>
              </a:ext>
            </a:extLst>
          </p:cNvPr>
          <p:cNvCxnSpPr/>
          <p:nvPr/>
        </p:nvCxnSpPr>
        <p:spPr>
          <a:xfrm>
            <a:off x="3611880" y="493384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CF891B6-B517-47BF-9284-1E9913AFE1B5}"/>
              </a:ext>
            </a:extLst>
          </p:cNvPr>
          <p:cNvCxnSpPr>
            <a:cxnSpLocks/>
          </p:cNvCxnSpPr>
          <p:nvPr/>
        </p:nvCxnSpPr>
        <p:spPr>
          <a:xfrm>
            <a:off x="6481532" y="510540"/>
            <a:ext cx="0" cy="63474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F76BF9F3-76C7-4F5C-97B5-FCB469EB07E8}"/>
              </a:ext>
            </a:extLst>
          </p:cNvPr>
          <p:cNvCxnSpPr>
            <a:cxnSpLocks/>
          </p:cNvCxnSpPr>
          <p:nvPr/>
        </p:nvCxnSpPr>
        <p:spPr>
          <a:xfrm>
            <a:off x="8216934" y="510540"/>
            <a:ext cx="0" cy="63474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D7CF7F0E-E3BE-4F7F-B752-95FA30C8539F}"/>
              </a:ext>
            </a:extLst>
          </p:cNvPr>
          <p:cNvCxnSpPr>
            <a:cxnSpLocks/>
          </p:cNvCxnSpPr>
          <p:nvPr/>
        </p:nvCxnSpPr>
        <p:spPr>
          <a:xfrm>
            <a:off x="9952336" y="510540"/>
            <a:ext cx="0" cy="63474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6B2D5BB0-398B-4A7F-A88D-694527C411BF}"/>
              </a:ext>
            </a:extLst>
          </p:cNvPr>
          <p:cNvGrpSpPr/>
          <p:nvPr/>
        </p:nvGrpSpPr>
        <p:grpSpPr>
          <a:xfrm>
            <a:off x="836736" y="5327563"/>
            <a:ext cx="313171" cy="287194"/>
            <a:chOff x="7005638" y="2909888"/>
            <a:chExt cx="344488" cy="315913"/>
          </a:xfrm>
        </p:grpSpPr>
        <p:sp>
          <p:nvSpPr>
            <p:cNvPr id="170" name="Oval 302">
              <a:extLst>
                <a:ext uri="{FF2B5EF4-FFF2-40B4-BE49-F238E27FC236}">
                  <a16:creationId xmlns:a16="http://schemas.microsoft.com/office/drawing/2014/main" id="{37C5B34A-C34E-46C5-923D-5EF1DEF80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Oval 303">
              <a:extLst>
                <a:ext uri="{FF2B5EF4-FFF2-40B4-BE49-F238E27FC236}">
                  <a16:creationId xmlns:a16="http://schemas.microsoft.com/office/drawing/2014/main" id="{82E5A5A5-3DFE-4D5F-9B8E-D330C9CD7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Oval 304">
              <a:extLst>
                <a:ext uri="{FF2B5EF4-FFF2-40B4-BE49-F238E27FC236}">
                  <a16:creationId xmlns:a16="http://schemas.microsoft.com/office/drawing/2014/main" id="{3BB9AF55-F55B-4775-A3FF-A2DF7F15B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305">
              <a:extLst>
                <a:ext uri="{FF2B5EF4-FFF2-40B4-BE49-F238E27FC236}">
                  <a16:creationId xmlns:a16="http://schemas.microsoft.com/office/drawing/2014/main" id="{F6262395-E1A7-44E7-893B-16E8A1082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306">
              <a:extLst>
                <a:ext uri="{FF2B5EF4-FFF2-40B4-BE49-F238E27FC236}">
                  <a16:creationId xmlns:a16="http://schemas.microsoft.com/office/drawing/2014/main" id="{F34252E6-DCFE-4C97-BB4C-5E02D3306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307">
              <a:extLst>
                <a:ext uri="{FF2B5EF4-FFF2-40B4-BE49-F238E27FC236}">
                  <a16:creationId xmlns:a16="http://schemas.microsoft.com/office/drawing/2014/main" id="{E3DBE2EF-8597-4727-9C21-62815811F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308">
              <a:extLst>
                <a:ext uri="{FF2B5EF4-FFF2-40B4-BE49-F238E27FC236}">
                  <a16:creationId xmlns:a16="http://schemas.microsoft.com/office/drawing/2014/main" id="{080AADDD-30BE-4669-B2C4-9B60862C5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78" name="Slide Number Placeholder 3">
            <a:extLst>
              <a:ext uri="{FF2B5EF4-FFF2-40B4-BE49-F238E27FC236}">
                <a16:creationId xmlns:a16="http://schemas.microsoft.com/office/drawing/2014/main" id="{965A05F2-87D3-4366-A41F-7454C4E40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3374" y="6519141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3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0CDC8A7-2D19-F634-1BF3-76BF865516E8}"/>
              </a:ext>
            </a:extLst>
          </p:cNvPr>
          <p:cNvSpPr/>
          <p:nvPr/>
        </p:nvSpPr>
        <p:spPr>
          <a:xfrm>
            <a:off x="682897" y="606334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683DBBB-EC1D-9351-7D3A-84B64D2D931D}"/>
              </a:ext>
            </a:extLst>
          </p:cNvPr>
          <p:cNvSpPr/>
          <p:nvPr/>
        </p:nvSpPr>
        <p:spPr>
          <a:xfrm>
            <a:off x="662940" y="606334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8FE42A-E8B9-42C3-DEFD-58811BC0C979}"/>
              </a:ext>
            </a:extLst>
          </p:cNvPr>
          <p:cNvSpPr/>
          <p:nvPr/>
        </p:nvSpPr>
        <p:spPr>
          <a:xfrm>
            <a:off x="1448026" y="619522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lth and Beaut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F420D4-A868-D030-FEE3-5249C2DD9122}"/>
              </a:ext>
            </a:extLst>
          </p:cNvPr>
          <p:cNvGrpSpPr/>
          <p:nvPr/>
        </p:nvGrpSpPr>
        <p:grpSpPr>
          <a:xfrm>
            <a:off x="851976" y="6257203"/>
            <a:ext cx="313171" cy="287194"/>
            <a:chOff x="7005638" y="2909888"/>
            <a:chExt cx="344488" cy="315913"/>
          </a:xfrm>
        </p:grpSpPr>
        <p:sp>
          <p:nvSpPr>
            <p:cNvPr id="6" name="Oval 302">
              <a:extLst>
                <a:ext uri="{FF2B5EF4-FFF2-40B4-BE49-F238E27FC236}">
                  <a16:creationId xmlns:a16="http://schemas.microsoft.com/office/drawing/2014/main" id="{2DAF0412-A3A0-2234-F9E6-F54529F6E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Oval 303">
              <a:extLst>
                <a:ext uri="{FF2B5EF4-FFF2-40B4-BE49-F238E27FC236}">
                  <a16:creationId xmlns:a16="http://schemas.microsoft.com/office/drawing/2014/main" id="{036B7AFD-F449-2A09-0DB5-C82655BF8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304">
              <a:extLst>
                <a:ext uri="{FF2B5EF4-FFF2-40B4-BE49-F238E27FC236}">
                  <a16:creationId xmlns:a16="http://schemas.microsoft.com/office/drawing/2014/main" id="{E302821B-3109-F786-0730-D60A2C257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305">
              <a:extLst>
                <a:ext uri="{FF2B5EF4-FFF2-40B4-BE49-F238E27FC236}">
                  <a16:creationId xmlns:a16="http://schemas.microsoft.com/office/drawing/2014/main" id="{3CA5602A-55E4-29BC-97D6-F93E7E418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306">
              <a:extLst>
                <a:ext uri="{FF2B5EF4-FFF2-40B4-BE49-F238E27FC236}">
                  <a16:creationId xmlns:a16="http://schemas.microsoft.com/office/drawing/2014/main" id="{DED070A5-C181-4E1C-50FB-F83A262DD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307">
              <a:extLst>
                <a:ext uri="{FF2B5EF4-FFF2-40B4-BE49-F238E27FC236}">
                  <a16:creationId xmlns:a16="http://schemas.microsoft.com/office/drawing/2014/main" id="{23CD9AEF-5E9E-CD72-DBC6-C5ACA4B32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308">
              <a:extLst>
                <a:ext uri="{FF2B5EF4-FFF2-40B4-BE49-F238E27FC236}">
                  <a16:creationId xmlns:a16="http://schemas.microsoft.com/office/drawing/2014/main" id="{A13A0685-3157-5D95-B3E2-4520D6C9E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6C2E4AE-6844-E518-2B83-9ECF4ED029F6}"/>
              </a:ext>
            </a:extLst>
          </p:cNvPr>
          <p:cNvSpPr/>
          <p:nvPr/>
        </p:nvSpPr>
        <p:spPr>
          <a:xfrm>
            <a:off x="660037" y="99985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453A0B4-69B3-08C0-A132-B3C95FA090D6}"/>
              </a:ext>
            </a:extLst>
          </p:cNvPr>
          <p:cNvSpPr/>
          <p:nvPr/>
        </p:nvSpPr>
        <p:spPr>
          <a:xfrm>
            <a:off x="640080" y="99985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016A78-2A97-F623-36C5-66AFE5045067}"/>
              </a:ext>
            </a:extLst>
          </p:cNvPr>
          <p:cNvSpPr/>
          <p:nvPr/>
        </p:nvSpPr>
        <p:spPr>
          <a:xfrm>
            <a:off x="1425166" y="113173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shion Accessori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89E14B-D062-EC6C-E7EB-EA0B000462EC}"/>
              </a:ext>
            </a:extLst>
          </p:cNvPr>
          <p:cNvGrpSpPr/>
          <p:nvPr/>
        </p:nvGrpSpPr>
        <p:grpSpPr>
          <a:xfrm>
            <a:off x="829116" y="1193713"/>
            <a:ext cx="313171" cy="287194"/>
            <a:chOff x="7005638" y="2909888"/>
            <a:chExt cx="344488" cy="315913"/>
          </a:xfrm>
        </p:grpSpPr>
        <p:sp>
          <p:nvSpPr>
            <p:cNvPr id="20" name="Oval 302">
              <a:extLst>
                <a:ext uri="{FF2B5EF4-FFF2-40B4-BE49-F238E27FC236}">
                  <a16:creationId xmlns:a16="http://schemas.microsoft.com/office/drawing/2014/main" id="{3D48AE9C-BAC2-4CF7-4FD6-997C098B6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3">
              <a:extLst>
                <a:ext uri="{FF2B5EF4-FFF2-40B4-BE49-F238E27FC236}">
                  <a16:creationId xmlns:a16="http://schemas.microsoft.com/office/drawing/2014/main" id="{7091917E-E97D-7B7A-2E93-93BF95179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Oval 304">
              <a:extLst>
                <a:ext uri="{FF2B5EF4-FFF2-40B4-BE49-F238E27FC236}">
                  <a16:creationId xmlns:a16="http://schemas.microsoft.com/office/drawing/2014/main" id="{5468F823-B3B2-D109-41CE-3A10BDD0F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305">
              <a:extLst>
                <a:ext uri="{FF2B5EF4-FFF2-40B4-BE49-F238E27FC236}">
                  <a16:creationId xmlns:a16="http://schemas.microsoft.com/office/drawing/2014/main" id="{4D963EF4-204A-236B-E193-433E3D098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306">
              <a:extLst>
                <a:ext uri="{FF2B5EF4-FFF2-40B4-BE49-F238E27FC236}">
                  <a16:creationId xmlns:a16="http://schemas.microsoft.com/office/drawing/2014/main" id="{55752FA1-4B66-B5DC-ECEE-D937127C3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7">
              <a:extLst>
                <a:ext uri="{FF2B5EF4-FFF2-40B4-BE49-F238E27FC236}">
                  <a16:creationId xmlns:a16="http://schemas.microsoft.com/office/drawing/2014/main" id="{D1C55791-0A30-BCE2-255B-E8F496D44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8">
              <a:extLst>
                <a:ext uri="{FF2B5EF4-FFF2-40B4-BE49-F238E27FC236}">
                  <a16:creationId xmlns:a16="http://schemas.microsoft.com/office/drawing/2014/main" id="{C9F2204A-3A92-0048-034B-13D940F95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AA5FB92-1201-7E5E-9165-A38654C507AE}"/>
              </a:ext>
            </a:extLst>
          </p:cNvPr>
          <p:cNvSpPr/>
          <p:nvPr/>
        </p:nvSpPr>
        <p:spPr>
          <a:xfrm>
            <a:off x="660037" y="193711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od and Beverages</a:t>
            </a:r>
            <a:endParaRPr lang="en-US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FE34452-20EB-C404-614F-973BDB68EBEF}"/>
              </a:ext>
            </a:extLst>
          </p:cNvPr>
          <p:cNvSpPr/>
          <p:nvPr/>
        </p:nvSpPr>
        <p:spPr>
          <a:xfrm>
            <a:off x="640080" y="193711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F63DB98-B52D-4755-8661-D11762ACF572}"/>
              </a:ext>
            </a:extLst>
          </p:cNvPr>
          <p:cNvSpPr/>
          <p:nvPr/>
        </p:nvSpPr>
        <p:spPr>
          <a:xfrm>
            <a:off x="1425166" y="206899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endParaRPr lang="en-US" sz="16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17D15FC-016B-F6ED-426B-750D7E6E8079}"/>
              </a:ext>
            </a:extLst>
          </p:cNvPr>
          <p:cNvGrpSpPr/>
          <p:nvPr/>
        </p:nvGrpSpPr>
        <p:grpSpPr>
          <a:xfrm>
            <a:off x="829116" y="2130973"/>
            <a:ext cx="313171" cy="287194"/>
            <a:chOff x="7005638" y="2909888"/>
            <a:chExt cx="344488" cy="315913"/>
          </a:xfrm>
        </p:grpSpPr>
        <p:sp>
          <p:nvSpPr>
            <p:cNvPr id="33" name="Oval 302">
              <a:extLst>
                <a:ext uri="{FF2B5EF4-FFF2-40B4-BE49-F238E27FC236}">
                  <a16:creationId xmlns:a16="http://schemas.microsoft.com/office/drawing/2014/main" id="{AC78838C-5FB9-1FD2-0C6D-4320BFC77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3">
              <a:extLst>
                <a:ext uri="{FF2B5EF4-FFF2-40B4-BE49-F238E27FC236}">
                  <a16:creationId xmlns:a16="http://schemas.microsoft.com/office/drawing/2014/main" id="{5A1B6120-03FB-267C-3AEC-233C6031C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04">
              <a:extLst>
                <a:ext uri="{FF2B5EF4-FFF2-40B4-BE49-F238E27FC236}">
                  <a16:creationId xmlns:a16="http://schemas.microsoft.com/office/drawing/2014/main" id="{5CD80147-90D1-69E6-6A0C-767B504A4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05">
              <a:extLst>
                <a:ext uri="{FF2B5EF4-FFF2-40B4-BE49-F238E27FC236}">
                  <a16:creationId xmlns:a16="http://schemas.microsoft.com/office/drawing/2014/main" id="{7E35F0F2-2D03-319B-3EA1-E9CDA2696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6">
              <a:extLst>
                <a:ext uri="{FF2B5EF4-FFF2-40B4-BE49-F238E27FC236}">
                  <a16:creationId xmlns:a16="http://schemas.microsoft.com/office/drawing/2014/main" id="{28E8A7CA-BAEA-4DE8-B60B-866D4E94C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7">
              <a:extLst>
                <a:ext uri="{FF2B5EF4-FFF2-40B4-BE49-F238E27FC236}">
                  <a16:creationId xmlns:a16="http://schemas.microsoft.com/office/drawing/2014/main" id="{D4F8F8F5-AFBE-3492-C7A8-4334B9D5A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08">
              <a:extLst>
                <a:ext uri="{FF2B5EF4-FFF2-40B4-BE49-F238E27FC236}">
                  <a16:creationId xmlns:a16="http://schemas.microsoft.com/office/drawing/2014/main" id="{DB468639-DE1E-357C-EDCE-114C398C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0CCD53E-7DF1-42AC-F755-386F37AC0506}"/>
              </a:ext>
            </a:extLst>
          </p:cNvPr>
          <p:cNvGrpSpPr/>
          <p:nvPr/>
        </p:nvGrpSpPr>
        <p:grpSpPr>
          <a:xfrm>
            <a:off x="832926" y="3174913"/>
            <a:ext cx="313171" cy="287194"/>
            <a:chOff x="7005638" y="2909888"/>
            <a:chExt cx="344488" cy="315913"/>
          </a:xfrm>
        </p:grpSpPr>
        <p:sp>
          <p:nvSpPr>
            <p:cNvPr id="41" name="Oval 302">
              <a:extLst>
                <a:ext uri="{FF2B5EF4-FFF2-40B4-BE49-F238E27FC236}">
                  <a16:creationId xmlns:a16="http://schemas.microsoft.com/office/drawing/2014/main" id="{E198B5F4-371E-412A-0FFB-645FB57A4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303">
              <a:extLst>
                <a:ext uri="{FF2B5EF4-FFF2-40B4-BE49-F238E27FC236}">
                  <a16:creationId xmlns:a16="http://schemas.microsoft.com/office/drawing/2014/main" id="{C852AF19-B8D9-3B94-0A16-93FA23279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Oval 304">
              <a:extLst>
                <a:ext uri="{FF2B5EF4-FFF2-40B4-BE49-F238E27FC236}">
                  <a16:creationId xmlns:a16="http://schemas.microsoft.com/office/drawing/2014/main" id="{E03FB94A-2018-3B00-723C-5F8195A71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305">
              <a:extLst>
                <a:ext uri="{FF2B5EF4-FFF2-40B4-BE49-F238E27FC236}">
                  <a16:creationId xmlns:a16="http://schemas.microsoft.com/office/drawing/2014/main" id="{1BFB1607-713A-3D68-550E-ACC81B1FA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306">
              <a:extLst>
                <a:ext uri="{FF2B5EF4-FFF2-40B4-BE49-F238E27FC236}">
                  <a16:creationId xmlns:a16="http://schemas.microsoft.com/office/drawing/2014/main" id="{93B8D297-F363-8CD7-8E85-AD8B7A55F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07">
              <a:extLst>
                <a:ext uri="{FF2B5EF4-FFF2-40B4-BE49-F238E27FC236}">
                  <a16:creationId xmlns:a16="http://schemas.microsoft.com/office/drawing/2014/main" id="{6280B056-2FC8-44FE-8F1B-571065D9F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08">
              <a:extLst>
                <a:ext uri="{FF2B5EF4-FFF2-40B4-BE49-F238E27FC236}">
                  <a16:creationId xmlns:a16="http://schemas.microsoft.com/office/drawing/2014/main" id="{2677B0D0-91A7-D4FF-488F-0F54290F3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6DFE6AC-39D6-B33A-E0CE-FA704829806C}"/>
              </a:ext>
            </a:extLst>
          </p:cNvPr>
          <p:cNvGrpSpPr/>
          <p:nvPr/>
        </p:nvGrpSpPr>
        <p:grpSpPr>
          <a:xfrm>
            <a:off x="844356" y="4249333"/>
            <a:ext cx="313171" cy="287194"/>
            <a:chOff x="7005638" y="2909888"/>
            <a:chExt cx="344488" cy="315913"/>
          </a:xfrm>
        </p:grpSpPr>
        <p:sp>
          <p:nvSpPr>
            <p:cNvPr id="49" name="Oval 302">
              <a:extLst>
                <a:ext uri="{FF2B5EF4-FFF2-40B4-BE49-F238E27FC236}">
                  <a16:creationId xmlns:a16="http://schemas.microsoft.com/office/drawing/2014/main" id="{53C5944D-805C-753D-8743-3AA59D204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3">
              <a:extLst>
                <a:ext uri="{FF2B5EF4-FFF2-40B4-BE49-F238E27FC236}">
                  <a16:creationId xmlns:a16="http://schemas.microsoft.com/office/drawing/2014/main" id="{EBA1A9D1-67E7-2849-C37D-7D4D2763C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304">
              <a:extLst>
                <a:ext uri="{FF2B5EF4-FFF2-40B4-BE49-F238E27FC236}">
                  <a16:creationId xmlns:a16="http://schemas.microsoft.com/office/drawing/2014/main" id="{012D6F80-36EB-BCD7-3AB8-9FA23073E9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05">
              <a:extLst>
                <a:ext uri="{FF2B5EF4-FFF2-40B4-BE49-F238E27FC236}">
                  <a16:creationId xmlns:a16="http://schemas.microsoft.com/office/drawing/2014/main" id="{8167859A-9067-2490-0CA5-46334E40D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06">
              <a:extLst>
                <a:ext uri="{FF2B5EF4-FFF2-40B4-BE49-F238E27FC236}">
                  <a16:creationId xmlns:a16="http://schemas.microsoft.com/office/drawing/2014/main" id="{D31D05B9-0483-109C-F4D0-A626B07EE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307">
              <a:extLst>
                <a:ext uri="{FF2B5EF4-FFF2-40B4-BE49-F238E27FC236}">
                  <a16:creationId xmlns:a16="http://schemas.microsoft.com/office/drawing/2014/main" id="{ACD73F73-D2B5-40CE-D1E8-1155F3AAD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308">
              <a:extLst>
                <a:ext uri="{FF2B5EF4-FFF2-40B4-BE49-F238E27FC236}">
                  <a16:creationId xmlns:a16="http://schemas.microsoft.com/office/drawing/2014/main" id="{89ED5BC5-C6F8-6A9C-52D8-2EB653046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280D3B5-245C-F939-AA40-87331681A42B}"/>
              </a:ext>
            </a:extLst>
          </p:cNvPr>
          <p:cNvCxnSpPr/>
          <p:nvPr/>
        </p:nvCxnSpPr>
        <p:spPr>
          <a:xfrm>
            <a:off x="3627120" y="594349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76232C2-6816-F900-1AE0-9D6DE0B33137}"/>
              </a:ext>
            </a:extLst>
          </p:cNvPr>
          <p:cNvCxnSpPr/>
          <p:nvPr/>
        </p:nvCxnSpPr>
        <p:spPr>
          <a:xfrm>
            <a:off x="3649980" y="179440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B1E21492-6528-1CFC-A49E-75027D52B8AF}"/>
              </a:ext>
            </a:extLst>
          </p:cNvPr>
          <p:cNvSpPr txBox="1"/>
          <p:nvPr/>
        </p:nvSpPr>
        <p:spPr>
          <a:xfrm>
            <a:off x="10321290" y="1131731"/>
            <a:ext cx="9189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178</a:t>
            </a:r>
            <a:endParaRPr lang="en-IN" sz="2000" b="1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8BB0B97-4EDE-9A30-A3E8-57425E0533E1}"/>
              </a:ext>
            </a:extLst>
          </p:cNvPr>
          <p:cNvSpPr txBox="1"/>
          <p:nvPr/>
        </p:nvSpPr>
        <p:spPr>
          <a:xfrm>
            <a:off x="10321290" y="2130973"/>
            <a:ext cx="9189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174</a:t>
            </a:r>
            <a:endParaRPr lang="en-IN" sz="2000" b="1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FE49E70-78BE-324A-C9CC-A3A3F752686A}"/>
              </a:ext>
            </a:extLst>
          </p:cNvPr>
          <p:cNvSpPr txBox="1"/>
          <p:nvPr/>
        </p:nvSpPr>
        <p:spPr>
          <a:xfrm>
            <a:off x="10195560" y="3089040"/>
            <a:ext cx="1163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170</a:t>
            </a:r>
            <a:endParaRPr lang="en-IN" sz="2000" b="1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B06454A-9650-0770-7DCF-D9F122B70468}"/>
              </a:ext>
            </a:extLst>
          </p:cNvPr>
          <p:cNvSpPr txBox="1"/>
          <p:nvPr/>
        </p:nvSpPr>
        <p:spPr>
          <a:xfrm>
            <a:off x="10195560" y="4125978"/>
            <a:ext cx="12458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166</a:t>
            </a:r>
            <a:endParaRPr lang="en-IN" sz="2000" b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2BA76C-7C7C-C112-7B56-D24CB092D840}"/>
              </a:ext>
            </a:extLst>
          </p:cNvPr>
          <p:cNvSpPr txBox="1"/>
          <p:nvPr/>
        </p:nvSpPr>
        <p:spPr>
          <a:xfrm>
            <a:off x="10117906" y="5284815"/>
            <a:ext cx="11597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160</a:t>
            </a:r>
            <a:endParaRPr lang="en-IN" sz="2000" b="1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7E522E-2E4D-AEC7-28CE-1BECB95658F7}"/>
              </a:ext>
            </a:extLst>
          </p:cNvPr>
          <p:cNvSpPr txBox="1"/>
          <p:nvPr/>
        </p:nvSpPr>
        <p:spPr>
          <a:xfrm>
            <a:off x="10117906" y="6195221"/>
            <a:ext cx="11597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152</a:t>
            </a:r>
            <a:endParaRPr lang="en-IN" sz="2000" b="1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660AE8-BACB-3C86-DFED-008C177787DD}"/>
              </a:ext>
            </a:extLst>
          </p:cNvPr>
          <p:cNvSpPr txBox="1"/>
          <p:nvPr/>
        </p:nvSpPr>
        <p:spPr>
          <a:xfrm>
            <a:off x="5025390" y="1079862"/>
            <a:ext cx="1361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</a:t>
            </a:r>
            <a:r>
              <a:rPr lang="en-US" sz="2000" b="1" dirty="0"/>
              <a:t>51</a:t>
            </a:r>
            <a:endParaRPr lang="en-IN" sz="2000" b="1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316CC50-B254-AD3D-0095-6D1348E682E7}"/>
              </a:ext>
            </a:extLst>
          </p:cNvPr>
          <p:cNvSpPr txBox="1"/>
          <p:nvPr/>
        </p:nvSpPr>
        <p:spPr>
          <a:xfrm>
            <a:off x="7040880" y="1091292"/>
            <a:ext cx="1184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62</a:t>
            </a:r>
            <a:endParaRPr lang="en-IN" sz="2000" b="1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71871FD-188C-3F5E-60CB-16431F9A709A}"/>
              </a:ext>
            </a:extLst>
          </p:cNvPr>
          <p:cNvSpPr txBox="1"/>
          <p:nvPr/>
        </p:nvSpPr>
        <p:spPr>
          <a:xfrm>
            <a:off x="8791115" y="1131731"/>
            <a:ext cx="13877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65</a:t>
            </a:r>
            <a:endParaRPr lang="en-IN" sz="2000" b="1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25E6039-2145-5BE7-A108-E4463CDC50AD}"/>
              </a:ext>
            </a:extLst>
          </p:cNvPr>
          <p:cNvSpPr txBox="1"/>
          <p:nvPr/>
        </p:nvSpPr>
        <p:spPr>
          <a:xfrm>
            <a:off x="5234940" y="2068991"/>
            <a:ext cx="765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8</a:t>
            </a:r>
            <a:endParaRPr lang="en-IN" sz="2000" b="1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5D4E89E-524B-5DDA-A975-499BB3392BA4}"/>
              </a:ext>
            </a:extLst>
          </p:cNvPr>
          <p:cNvSpPr txBox="1"/>
          <p:nvPr/>
        </p:nvSpPr>
        <p:spPr>
          <a:xfrm>
            <a:off x="7029450" y="2041702"/>
            <a:ext cx="10585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0</a:t>
            </a:r>
            <a:endParaRPr lang="en-IN" b="1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6E29448-D856-6785-3332-2178F1E45CB4}"/>
              </a:ext>
            </a:extLst>
          </p:cNvPr>
          <p:cNvSpPr txBox="1"/>
          <p:nvPr/>
        </p:nvSpPr>
        <p:spPr>
          <a:xfrm>
            <a:off x="8768771" y="2068991"/>
            <a:ext cx="12489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66</a:t>
            </a:r>
            <a:endParaRPr lang="en-IN" sz="2000" b="1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39A91F9-5BF0-EABB-8157-2737EE5AB908}"/>
              </a:ext>
            </a:extLst>
          </p:cNvPr>
          <p:cNvSpPr txBox="1"/>
          <p:nvPr/>
        </p:nvSpPr>
        <p:spPr>
          <a:xfrm>
            <a:off x="4977931" y="3118116"/>
            <a:ext cx="1188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     </a:t>
            </a:r>
            <a:r>
              <a:rPr lang="en-US" sz="2000" b="1" dirty="0"/>
              <a:t>60</a:t>
            </a:r>
            <a:endParaRPr lang="en-IN" sz="2000" b="1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92AB02B-6A3F-061A-D43A-F38925EE94F5}"/>
              </a:ext>
            </a:extLst>
          </p:cNvPr>
          <p:cNvSpPr txBox="1"/>
          <p:nvPr/>
        </p:nvSpPr>
        <p:spPr>
          <a:xfrm>
            <a:off x="7033371" y="3129546"/>
            <a:ext cx="1123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5</a:t>
            </a:r>
            <a:endParaRPr lang="en-IN" sz="2000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AF567FA-6B3C-E3BF-2F7B-1416843EE68B}"/>
              </a:ext>
            </a:extLst>
          </p:cNvPr>
          <p:cNvSpPr txBox="1"/>
          <p:nvPr/>
        </p:nvSpPr>
        <p:spPr>
          <a:xfrm>
            <a:off x="8308372" y="3144470"/>
            <a:ext cx="1366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  55</a:t>
            </a:r>
            <a:endParaRPr lang="en-IN" sz="20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7446806-EC79-F005-9D77-CFF19834CB66}"/>
              </a:ext>
            </a:extLst>
          </p:cNvPr>
          <p:cNvSpPr txBox="1"/>
          <p:nvPr/>
        </p:nvSpPr>
        <p:spPr>
          <a:xfrm>
            <a:off x="5253990" y="4221996"/>
            <a:ext cx="13615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9</a:t>
            </a:r>
            <a:endParaRPr lang="en-IN" sz="2000" b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67AEE21-A86D-0F99-97AF-AC879517BDE8}"/>
              </a:ext>
            </a:extLst>
          </p:cNvPr>
          <p:cNvSpPr txBox="1"/>
          <p:nvPr/>
        </p:nvSpPr>
        <p:spPr>
          <a:xfrm>
            <a:off x="7018020" y="4207666"/>
            <a:ext cx="11162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62</a:t>
            </a:r>
            <a:endParaRPr lang="en-IN" sz="2000" b="1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13A4E24-02AB-A6BF-9959-73B002733D82}"/>
              </a:ext>
            </a:extLst>
          </p:cNvPr>
          <p:cNvSpPr txBox="1"/>
          <p:nvPr/>
        </p:nvSpPr>
        <p:spPr>
          <a:xfrm>
            <a:off x="8768768" y="4199136"/>
            <a:ext cx="1180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45</a:t>
            </a:r>
            <a:endParaRPr lang="en-IN" sz="2000" b="1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85153C5-1B57-87C4-E2ED-FDD80E1481E2}"/>
              </a:ext>
            </a:extLst>
          </p:cNvPr>
          <p:cNvSpPr txBox="1"/>
          <p:nvPr/>
        </p:nvSpPr>
        <p:spPr>
          <a:xfrm>
            <a:off x="5238750" y="5249568"/>
            <a:ext cx="13120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65</a:t>
            </a:r>
            <a:endParaRPr lang="en-IN" sz="2000" b="1" dirty="0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C7D80A7-0879-15A1-21C3-ABB2BAC42C56}"/>
              </a:ext>
            </a:extLst>
          </p:cNvPr>
          <p:cNvSpPr txBox="1"/>
          <p:nvPr/>
        </p:nvSpPr>
        <p:spPr>
          <a:xfrm>
            <a:off x="7020189" y="5240176"/>
            <a:ext cx="11369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0</a:t>
            </a:r>
            <a:endParaRPr lang="en-IN" sz="2000" b="1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FC469A3-C6D7-C9E1-E6E1-7B343E45718F}"/>
              </a:ext>
            </a:extLst>
          </p:cNvPr>
          <p:cNvSpPr txBox="1"/>
          <p:nvPr/>
        </p:nvSpPr>
        <p:spPr>
          <a:xfrm>
            <a:off x="8768255" y="5249568"/>
            <a:ext cx="11128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45</a:t>
            </a:r>
            <a:endParaRPr lang="en-IN" sz="2000" b="1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1F5C017-E3EE-D211-2507-19648CD66AC8}"/>
              </a:ext>
            </a:extLst>
          </p:cNvPr>
          <p:cNvSpPr txBox="1"/>
          <p:nvPr/>
        </p:nvSpPr>
        <p:spPr>
          <a:xfrm>
            <a:off x="5231130" y="6218081"/>
            <a:ext cx="13490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47</a:t>
            </a:r>
            <a:endParaRPr lang="en-IN" sz="2000" b="1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83E8F12-CE9A-7566-99E8-5CE305AC4204}"/>
              </a:ext>
            </a:extLst>
          </p:cNvPr>
          <p:cNvSpPr txBox="1"/>
          <p:nvPr/>
        </p:nvSpPr>
        <p:spPr>
          <a:xfrm>
            <a:off x="7022167" y="6210254"/>
            <a:ext cx="1305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3</a:t>
            </a:r>
            <a:endParaRPr lang="en-IN" sz="2000" b="1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02C6970-C339-0F03-FDF9-10C58B7F49DC}"/>
              </a:ext>
            </a:extLst>
          </p:cNvPr>
          <p:cNvSpPr txBox="1"/>
          <p:nvPr/>
        </p:nvSpPr>
        <p:spPr>
          <a:xfrm>
            <a:off x="8768773" y="6210254"/>
            <a:ext cx="1020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2</a:t>
            </a:r>
            <a:endParaRPr lang="en-IN" sz="2000" b="1" dirty="0"/>
          </a:p>
        </p:txBody>
      </p:sp>
    </p:spTree>
    <p:extLst>
      <p:ext uri="{BB962C8B-B14F-4D97-AF65-F5344CB8AC3E}">
        <p14:creationId xmlns:p14="http://schemas.microsoft.com/office/powerpoint/2010/main" val="1228607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Woman in online meeting">
            <a:extLst>
              <a:ext uri="{FF2B5EF4-FFF2-40B4-BE49-F238E27FC236}">
                <a16:creationId xmlns:a16="http://schemas.microsoft.com/office/drawing/2014/main" id="{D0F9FA90-33E7-4055-A5C3-9CCC85ED0A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9410" r="47205"/>
          <a:stretch/>
        </p:blipFill>
        <p:spPr>
          <a:xfrm>
            <a:off x="6096000" y="1382690"/>
            <a:ext cx="6096000" cy="4664117"/>
          </a:xfrm>
          <a:prstGeom prst="rect">
            <a:avLst/>
          </a:prstGeom>
        </p:spPr>
      </p:pic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667657" y="290515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r>
              <a:rPr lang="en-ID" sz="4000" dirty="0"/>
              <a:t>Revenue Per Month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3B101DB-D276-45E3-89AE-7E29F7254EB7}"/>
              </a:ext>
            </a:extLst>
          </p:cNvPr>
          <p:cNvSpPr/>
          <p:nvPr/>
        </p:nvSpPr>
        <p:spPr>
          <a:xfrm>
            <a:off x="6096000" y="1382692"/>
            <a:ext cx="6096000" cy="4664116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8C959DF-1654-4856-A054-FD3280AAAB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523493"/>
              </p:ext>
            </p:extLst>
          </p:nvPr>
        </p:nvGraphicFramePr>
        <p:xfrm>
          <a:off x="6544129" y="2375303"/>
          <a:ext cx="5199742" cy="3632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580C982-B22C-4AF9-A4AC-B5559C15E814}"/>
              </a:ext>
            </a:extLst>
          </p:cNvPr>
          <p:cNvSpPr txBox="1">
            <a:spLocks/>
          </p:cNvSpPr>
          <p:nvPr/>
        </p:nvSpPr>
        <p:spPr>
          <a:xfrm>
            <a:off x="7052975" y="1382692"/>
            <a:ext cx="4182050" cy="465282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FE9900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e chart of monthly revenu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A1D499A-39BE-409A-AA6A-B199A2947C99}"/>
              </a:ext>
            </a:extLst>
          </p:cNvPr>
          <p:cNvSpPr/>
          <p:nvPr/>
        </p:nvSpPr>
        <p:spPr>
          <a:xfrm>
            <a:off x="647700" y="2762346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9F22A9F-72C7-4CC7-8371-1105961C8675}"/>
              </a:ext>
            </a:extLst>
          </p:cNvPr>
          <p:cNvSpPr txBox="1">
            <a:spLocks/>
          </p:cNvSpPr>
          <p:nvPr/>
        </p:nvSpPr>
        <p:spPr>
          <a:xfrm>
            <a:off x="667656" y="3579891"/>
            <a:ext cx="5118706" cy="181778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4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FFD419B-9294-4FD9-B13E-6161FDB92742}"/>
              </a:ext>
            </a:extLst>
          </p:cNvPr>
          <p:cNvGrpSpPr/>
          <p:nvPr/>
        </p:nvGrpSpPr>
        <p:grpSpPr>
          <a:xfrm>
            <a:off x="815521" y="2920416"/>
            <a:ext cx="355600" cy="358775"/>
            <a:chOff x="6276975" y="2886076"/>
            <a:chExt cx="355600" cy="358775"/>
          </a:xfrm>
        </p:grpSpPr>
        <p:sp>
          <p:nvSpPr>
            <p:cNvPr id="56" name="Freeform 658">
              <a:extLst>
                <a:ext uri="{FF2B5EF4-FFF2-40B4-BE49-F238E27FC236}">
                  <a16:creationId xmlns:a16="http://schemas.microsoft.com/office/drawing/2014/main" id="{0F31BDE8-6C48-4C4E-AAE9-1D1D6C832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030538"/>
              <a:ext cx="212725" cy="214313"/>
            </a:xfrm>
            <a:custGeom>
              <a:avLst/>
              <a:gdLst>
                <a:gd name="T0" fmla="*/ 29 w 57"/>
                <a:gd name="T1" fmla="*/ 57 h 57"/>
                <a:gd name="T2" fmla="*/ 27 w 57"/>
                <a:gd name="T3" fmla="*/ 56 h 57"/>
                <a:gd name="T4" fmla="*/ 0 w 57"/>
                <a:gd name="T5" fmla="*/ 3 h 57"/>
                <a:gd name="T6" fmla="*/ 1 w 57"/>
                <a:gd name="T7" fmla="*/ 1 h 57"/>
                <a:gd name="T8" fmla="*/ 3 w 57"/>
                <a:gd name="T9" fmla="*/ 0 h 57"/>
                <a:gd name="T10" fmla="*/ 56 w 57"/>
                <a:gd name="T11" fmla="*/ 27 h 57"/>
                <a:gd name="T12" fmla="*/ 57 w 57"/>
                <a:gd name="T13" fmla="*/ 29 h 57"/>
                <a:gd name="T14" fmla="*/ 56 w 57"/>
                <a:gd name="T15" fmla="*/ 31 h 57"/>
                <a:gd name="T16" fmla="*/ 36 w 57"/>
                <a:gd name="T17" fmla="*/ 36 h 57"/>
                <a:gd name="T18" fmla="*/ 31 w 57"/>
                <a:gd name="T19" fmla="*/ 56 h 57"/>
                <a:gd name="T20" fmla="*/ 29 w 57"/>
                <a:gd name="T21" fmla="*/ 57 h 57"/>
                <a:gd name="T22" fmla="*/ 29 w 57"/>
                <a:gd name="T23" fmla="*/ 57 h 57"/>
                <a:gd name="T24" fmla="*/ 6 w 57"/>
                <a:gd name="T25" fmla="*/ 6 h 57"/>
                <a:gd name="T26" fmla="*/ 28 w 57"/>
                <a:gd name="T27" fmla="*/ 50 h 57"/>
                <a:gd name="T28" fmla="*/ 32 w 57"/>
                <a:gd name="T29" fmla="*/ 34 h 57"/>
                <a:gd name="T30" fmla="*/ 34 w 57"/>
                <a:gd name="T31" fmla="*/ 32 h 57"/>
                <a:gd name="T32" fmla="*/ 50 w 57"/>
                <a:gd name="T33" fmla="*/ 28 h 57"/>
                <a:gd name="T34" fmla="*/ 6 w 57"/>
                <a:gd name="T35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28" y="57"/>
                    <a:pt x="27" y="57"/>
                    <a:pt x="27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7" y="27"/>
                    <a:pt x="57" y="28"/>
                    <a:pt x="57" y="29"/>
                  </a:cubicBezTo>
                  <a:cubicBezTo>
                    <a:pt x="57" y="30"/>
                    <a:pt x="57" y="30"/>
                    <a:pt x="56" y="3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6" y="6"/>
                  </a:moveTo>
                  <a:cubicBezTo>
                    <a:pt x="28" y="50"/>
                    <a:pt x="28" y="50"/>
                    <a:pt x="28" y="50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28"/>
                    <a:pt x="50" y="28"/>
                    <a:pt x="50" y="28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659">
              <a:extLst>
                <a:ext uri="{FF2B5EF4-FFF2-40B4-BE49-F238E27FC236}">
                  <a16:creationId xmlns:a16="http://schemas.microsoft.com/office/drawing/2014/main" id="{B2E5E7F1-B800-4BDC-8D40-429F9E8E8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2886076"/>
              <a:ext cx="300038" cy="301625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79 w 80"/>
                <a:gd name="T9" fmla="*/ 47 h 80"/>
                <a:gd name="T10" fmla="*/ 77 w 80"/>
                <a:gd name="T11" fmla="*/ 48 h 80"/>
                <a:gd name="T12" fmla="*/ 76 w 80"/>
                <a:gd name="T13" fmla="*/ 46 h 80"/>
                <a:gd name="T14" fmla="*/ 76 w 80"/>
                <a:gd name="T15" fmla="*/ 40 h 80"/>
                <a:gd name="T16" fmla="*/ 40 w 80"/>
                <a:gd name="T17" fmla="*/ 4 h 80"/>
                <a:gd name="T18" fmla="*/ 4 w 80"/>
                <a:gd name="T19" fmla="*/ 40 h 80"/>
                <a:gd name="T20" fmla="*/ 40 w 80"/>
                <a:gd name="T21" fmla="*/ 76 h 80"/>
                <a:gd name="T22" fmla="*/ 46 w 80"/>
                <a:gd name="T23" fmla="*/ 76 h 80"/>
                <a:gd name="T24" fmla="*/ 48 w 80"/>
                <a:gd name="T25" fmla="*/ 77 h 80"/>
                <a:gd name="T26" fmla="*/ 46 w 80"/>
                <a:gd name="T27" fmla="*/ 79 h 80"/>
                <a:gd name="T28" fmla="*/ 40 w 80"/>
                <a:gd name="T2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42"/>
                    <a:pt x="80" y="44"/>
                    <a:pt x="79" y="47"/>
                  </a:cubicBezTo>
                  <a:cubicBezTo>
                    <a:pt x="79" y="48"/>
                    <a:pt x="78" y="48"/>
                    <a:pt x="77" y="48"/>
                  </a:cubicBezTo>
                  <a:cubicBezTo>
                    <a:pt x="76" y="48"/>
                    <a:pt x="75" y="47"/>
                    <a:pt x="76" y="46"/>
                  </a:cubicBezTo>
                  <a:cubicBezTo>
                    <a:pt x="76" y="44"/>
                    <a:pt x="76" y="42"/>
                    <a:pt x="76" y="40"/>
                  </a:cubicBezTo>
                  <a:cubicBezTo>
                    <a:pt x="76" y="20"/>
                    <a:pt x="60" y="4"/>
                    <a:pt x="40" y="4"/>
                  </a:cubicBezTo>
                  <a:cubicBezTo>
                    <a:pt x="20" y="4"/>
                    <a:pt x="4" y="20"/>
                    <a:pt x="4" y="40"/>
                  </a:cubicBezTo>
                  <a:cubicBezTo>
                    <a:pt x="4" y="60"/>
                    <a:pt x="20" y="76"/>
                    <a:pt x="40" y="76"/>
                  </a:cubicBezTo>
                  <a:cubicBezTo>
                    <a:pt x="42" y="76"/>
                    <a:pt x="44" y="76"/>
                    <a:pt x="46" y="76"/>
                  </a:cubicBezTo>
                  <a:cubicBezTo>
                    <a:pt x="47" y="75"/>
                    <a:pt x="48" y="76"/>
                    <a:pt x="48" y="77"/>
                  </a:cubicBezTo>
                  <a:cubicBezTo>
                    <a:pt x="48" y="78"/>
                    <a:pt x="48" y="79"/>
                    <a:pt x="46" y="79"/>
                  </a:cubicBezTo>
                  <a:cubicBezTo>
                    <a:pt x="44" y="80"/>
                    <a:pt x="42" y="80"/>
                    <a:pt x="40" y="8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660">
              <a:extLst>
                <a:ext uri="{FF2B5EF4-FFF2-40B4-BE49-F238E27FC236}">
                  <a16:creationId xmlns:a16="http://schemas.microsoft.com/office/drawing/2014/main" id="{C32F3CF4-FB61-4D55-BF09-B34179179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2946401"/>
              <a:ext cx="179388" cy="18097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46 w 48"/>
                <a:gd name="T9" fmla="*/ 26 h 48"/>
                <a:gd name="T10" fmla="*/ 44 w 48"/>
                <a:gd name="T11" fmla="*/ 24 h 48"/>
                <a:gd name="T12" fmla="*/ 24 w 48"/>
                <a:gd name="T13" fmla="*/ 4 h 48"/>
                <a:gd name="T14" fmla="*/ 4 w 48"/>
                <a:gd name="T15" fmla="*/ 24 h 48"/>
                <a:gd name="T16" fmla="*/ 24 w 48"/>
                <a:gd name="T17" fmla="*/ 44 h 48"/>
                <a:gd name="T18" fmla="*/ 26 w 48"/>
                <a:gd name="T19" fmla="*/ 46 h 48"/>
                <a:gd name="T20" fmla="*/ 24 w 48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5"/>
                    <a:pt x="47" y="26"/>
                    <a:pt x="46" y="26"/>
                  </a:cubicBezTo>
                  <a:cubicBezTo>
                    <a:pt x="45" y="26"/>
                    <a:pt x="44" y="25"/>
                    <a:pt x="44" y="24"/>
                  </a:cubicBezTo>
                  <a:cubicBezTo>
                    <a:pt x="44" y="13"/>
                    <a:pt x="35" y="4"/>
                    <a:pt x="24" y="4"/>
                  </a:cubicBezTo>
                  <a:cubicBezTo>
                    <a:pt x="13" y="4"/>
                    <a:pt x="4" y="13"/>
                    <a:pt x="4" y="24"/>
                  </a:cubicBezTo>
                  <a:cubicBezTo>
                    <a:pt x="4" y="35"/>
                    <a:pt x="13" y="44"/>
                    <a:pt x="24" y="44"/>
                  </a:cubicBezTo>
                  <a:cubicBezTo>
                    <a:pt x="25" y="44"/>
                    <a:pt x="26" y="45"/>
                    <a:pt x="26" y="46"/>
                  </a:cubicBezTo>
                  <a:cubicBezTo>
                    <a:pt x="26" y="47"/>
                    <a:pt x="25" y="48"/>
                    <a:pt x="24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F8744FC-76B7-430F-A20C-31B0FE59D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4</a:t>
            </a:fld>
            <a:endParaRPr lang="en-ID" sz="1050" dirty="0">
              <a:solidFill>
                <a:schemeClr val="bg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97C2CC9-090A-4DE7-8925-627DB75DC1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1" y="6510134"/>
            <a:ext cx="640479" cy="286205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AB31AE3-D102-4151-9D19-21C2419E8899}"/>
              </a:ext>
            </a:extLst>
          </p:cNvPr>
          <p:cNvSpPr txBox="1">
            <a:spLocks/>
          </p:cNvSpPr>
          <p:nvPr/>
        </p:nvSpPr>
        <p:spPr>
          <a:xfrm>
            <a:off x="667657" y="1378856"/>
            <a:ext cx="5094514" cy="10885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 we can see the distribution is almost same, no great ups and downs had been see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A34EB4-88F2-A5C7-2655-36E2981D0D87}"/>
              </a:ext>
            </a:extLst>
          </p:cNvPr>
          <p:cNvSpPr txBox="1"/>
          <p:nvPr/>
        </p:nvSpPr>
        <p:spPr>
          <a:xfrm>
            <a:off x="1440180" y="2842356"/>
            <a:ext cx="419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solidFill>
                  <a:srgbClr val="000000"/>
                </a:solidFill>
              </a:rPr>
              <a:t>Each month’s revenue</a:t>
            </a:r>
            <a:endParaRPr lang="en-IN" sz="2400" u="sng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0D5909-F7D2-8D1C-DE5E-F1BCBA35B2E6}"/>
              </a:ext>
            </a:extLst>
          </p:cNvPr>
          <p:cNvSpPr txBox="1"/>
          <p:nvPr/>
        </p:nvSpPr>
        <p:spPr>
          <a:xfrm>
            <a:off x="958396" y="3691890"/>
            <a:ext cx="46894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January</a:t>
            </a:r>
            <a:r>
              <a:rPr lang="en-US" sz="2000" dirty="0"/>
              <a:t> has the </a:t>
            </a:r>
            <a:r>
              <a:rPr lang="en-US" sz="2000" dirty="0">
                <a:solidFill>
                  <a:srgbClr val="FF0000"/>
                </a:solidFill>
              </a:rPr>
              <a:t>highest</a:t>
            </a:r>
            <a:r>
              <a:rPr lang="en-US" sz="2000" dirty="0"/>
              <a:t> generated revenue </a:t>
            </a:r>
            <a:r>
              <a:rPr lang="en-US" sz="2000" dirty="0">
                <a:solidFill>
                  <a:srgbClr val="000000"/>
                </a:solidFill>
              </a:rPr>
              <a:t>of approx. </a:t>
            </a:r>
            <a:r>
              <a:rPr lang="en-US" sz="2000" dirty="0"/>
              <a:t> $1,10,750.</a:t>
            </a:r>
          </a:p>
          <a:p>
            <a:endParaRPr lang="en-US" sz="2000" dirty="0"/>
          </a:p>
          <a:p>
            <a:r>
              <a:rPr lang="en-IN" sz="2000" dirty="0">
                <a:solidFill>
                  <a:srgbClr val="FF0000"/>
                </a:solidFill>
              </a:rPr>
              <a:t>February</a:t>
            </a:r>
            <a:r>
              <a:rPr lang="en-IN" sz="2000" dirty="0"/>
              <a:t> has the </a:t>
            </a:r>
            <a:r>
              <a:rPr lang="en-IN" sz="2000" dirty="0">
                <a:solidFill>
                  <a:srgbClr val="FF0000"/>
                </a:solidFill>
              </a:rPr>
              <a:t>lowest</a:t>
            </a:r>
            <a:r>
              <a:rPr lang="en-IN" sz="2000" dirty="0"/>
              <a:t> generated revenue of almost $92,600.</a:t>
            </a:r>
          </a:p>
          <a:p>
            <a:endParaRPr lang="en-IN" sz="2000" dirty="0"/>
          </a:p>
          <a:p>
            <a:r>
              <a:rPr lang="en-IN" sz="2000" dirty="0">
                <a:solidFill>
                  <a:srgbClr val="FF0000"/>
                </a:solidFill>
              </a:rPr>
              <a:t>March</a:t>
            </a:r>
            <a:r>
              <a:rPr lang="en-IN" sz="2000" dirty="0"/>
              <a:t> has the revenue of approx. $1,04,250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69949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Woman in online meeting">
            <a:extLst>
              <a:ext uri="{FF2B5EF4-FFF2-40B4-BE49-F238E27FC236}">
                <a16:creationId xmlns:a16="http://schemas.microsoft.com/office/drawing/2014/main" id="{D0F9FA90-33E7-4055-A5C3-9CCC85ED0A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9410" r="47205"/>
          <a:stretch/>
        </p:blipFill>
        <p:spPr>
          <a:xfrm>
            <a:off x="6096000" y="1382690"/>
            <a:ext cx="6096000" cy="4664117"/>
          </a:xfrm>
          <a:prstGeom prst="rect">
            <a:avLst/>
          </a:prstGeom>
        </p:spPr>
      </p:pic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667657" y="290515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r>
              <a:rPr lang="en-ID" sz="4000" dirty="0"/>
              <a:t>Revenue Per Product Line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3B101DB-D276-45E3-89AE-7E29F7254EB7}"/>
              </a:ext>
            </a:extLst>
          </p:cNvPr>
          <p:cNvSpPr/>
          <p:nvPr/>
        </p:nvSpPr>
        <p:spPr>
          <a:xfrm>
            <a:off x="6096000" y="1382692"/>
            <a:ext cx="6096000" cy="4664116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8C959DF-1654-4856-A054-FD3280AAAB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516850"/>
              </p:ext>
            </p:extLst>
          </p:nvPr>
        </p:nvGraphicFramePr>
        <p:xfrm>
          <a:off x="6544129" y="2375303"/>
          <a:ext cx="5199742" cy="3632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580C982-B22C-4AF9-A4AC-B5559C15E814}"/>
              </a:ext>
            </a:extLst>
          </p:cNvPr>
          <p:cNvSpPr txBox="1">
            <a:spLocks/>
          </p:cNvSpPr>
          <p:nvPr/>
        </p:nvSpPr>
        <p:spPr>
          <a:xfrm>
            <a:off x="7052975" y="1382692"/>
            <a:ext cx="4182050" cy="465282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FE9900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e chart of Product Line revenu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A1D499A-39BE-409A-AA6A-B199A2947C99}"/>
              </a:ext>
            </a:extLst>
          </p:cNvPr>
          <p:cNvSpPr/>
          <p:nvPr/>
        </p:nvSpPr>
        <p:spPr>
          <a:xfrm>
            <a:off x="647700" y="1162146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9F22A9F-72C7-4CC7-8371-1105961C8675}"/>
              </a:ext>
            </a:extLst>
          </p:cNvPr>
          <p:cNvSpPr txBox="1">
            <a:spLocks/>
          </p:cNvSpPr>
          <p:nvPr/>
        </p:nvSpPr>
        <p:spPr>
          <a:xfrm>
            <a:off x="667656" y="3579891"/>
            <a:ext cx="5118706" cy="181778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4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FFD419B-9294-4FD9-B13E-6161FDB92742}"/>
              </a:ext>
            </a:extLst>
          </p:cNvPr>
          <p:cNvGrpSpPr/>
          <p:nvPr/>
        </p:nvGrpSpPr>
        <p:grpSpPr>
          <a:xfrm>
            <a:off x="815521" y="1320216"/>
            <a:ext cx="355600" cy="358775"/>
            <a:chOff x="6276975" y="2886076"/>
            <a:chExt cx="355600" cy="358775"/>
          </a:xfrm>
        </p:grpSpPr>
        <p:sp>
          <p:nvSpPr>
            <p:cNvPr id="56" name="Freeform 658">
              <a:extLst>
                <a:ext uri="{FF2B5EF4-FFF2-40B4-BE49-F238E27FC236}">
                  <a16:creationId xmlns:a16="http://schemas.microsoft.com/office/drawing/2014/main" id="{0F31BDE8-6C48-4C4E-AAE9-1D1D6C832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030538"/>
              <a:ext cx="212725" cy="214313"/>
            </a:xfrm>
            <a:custGeom>
              <a:avLst/>
              <a:gdLst>
                <a:gd name="T0" fmla="*/ 29 w 57"/>
                <a:gd name="T1" fmla="*/ 57 h 57"/>
                <a:gd name="T2" fmla="*/ 27 w 57"/>
                <a:gd name="T3" fmla="*/ 56 h 57"/>
                <a:gd name="T4" fmla="*/ 0 w 57"/>
                <a:gd name="T5" fmla="*/ 3 h 57"/>
                <a:gd name="T6" fmla="*/ 1 w 57"/>
                <a:gd name="T7" fmla="*/ 1 h 57"/>
                <a:gd name="T8" fmla="*/ 3 w 57"/>
                <a:gd name="T9" fmla="*/ 0 h 57"/>
                <a:gd name="T10" fmla="*/ 56 w 57"/>
                <a:gd name="T11" fmla="*/ 27 h 57"/>
                <a:gd name="T12" fmla="*/ 57 w 57"/>
                <a:gd name="T13" fmla="*/ 29 h 57"/>
                <a:gd name="T14" fmla="*/ 56 w 57"/>
                <a:gd name="T15" fmla="*/ 31 h 57"/>
                <a:gd name="T16" fmla="*/ 36 w 57"/>
                <a:gd name="T17" fmla="*/ 36 h 57"/>
                <a:gd name="T18" fmla="*/ 31 w 57"/>
                <a:gd name="T19" fmla="*/ 56 h 57"/>
                <a:gd name="T20" fmla="*/ 29 w 57"/>
                <a:gd name="T21" fmla="*/ 57 h 57"/>
                <a:gd name="T22" fmla="*/ 29 w 57"/>
                <a:gd name="T23" fmla="*/ 57 h 57"/>
                <a:gd name="T24" fmla="*/ 6 w 57"/>
                <a:gd name="T25" fmla="*/ 6 h 57"/>
                <a:gd name="T26" fmla="*/ 28 w 57"/>
                <a:gd name="T27" fmla="*/ 50 h 57"/>
                <a:gd name="T28" fmla="*/ 32 w 57"/>
                <a:gd name="T29" fmla="*/ 34 h 57"/>
                <a:gd name="T30" fmla="*/ 34 w 57"/>
                <a:gd name="T31" fmla="*/ 32 h 57"/>
                <a:gd name="T32" fmla="*/ 50 w 57"/>
                <a:gd name="T33" fmla="*/ 28 h 57"/>
                <a:gd name="T34" fmla="*/ 6 w 57"/>
                <a:gd name="T35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28" y="57"/>
                    <a:pt x="27" y="57"/>
                    <a:pt x="27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7" y="27"/>
                    <a:pt x="57" y="28"/>
                    <a:pt x="57" y="29"/>
                  </a:cubicBezTo>
                  <a:cubicBezTo>
                    <a:pt x="57" y="30"/>
                    <a:pt x="57" y="30"/>
                    <a:pt x="56" y="3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6" y="6"/>
                  </a:moveTo>
                  <a:cubicBezTo>
                    <a:pt x="28" y="50"/>
                    <a:pt x="28" y="50"/>
                    <a:pt x="28" y="50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28"/>
                    <a:pt x="50" y="28"/>
                    <a:pt x="50" y="28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659">
              <a:extLst>
                <a:ext uri="{FF2B5EF4-FFF2-40B4-BE49-F238E27FC236}">
                  <a16:creationId xmlns:a16="http://schemas.microsoft.com/office/drawing/2014/main" id="{B2E5E7F1-B800-4BDC-8D40-429F9E8E8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2886076"/>
              <a:ext cx="300038" cy="301625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79 w 80"/>
                <a:gd name="T9" fmla="*/ 47 h 80"/>
                <a:gd name="T10" fmla="*/ 77 w 80"/>
                <a:gd name="T11" fmla="*/ 48 h 80"/>
                <a:gd name="T12" fmla="*/ 76 w 80"/>
                <a:gd name="T13" fmla="*/ 46 h 80"/>
                <a:gd name="T14" fmla="*/ 76 w 80"/>
                <a:gd name="T15" fmla="*/ 40 h 80"/>
                <a:gd name="T16" fmla="*/ 40 w 80"/>
                <a:gd name="T17" fmla="*/ 4 h 80"/>
                <a:gd name="T18" fmla="*/ 4 w 80"/>
                <a:gd name="T19" fmla="*/ 40 h 80"/>
                <a:gd name="T20" fmla="*/ 40 w 80"/>
                <a:gd name="T21" fmla="*/ 76 h 80"/>
                <a:gd name="T22" fmla="*/ 46 w 80"/>
                <a:gd name="T23" fmla="*/ 76 h 80"/>
                <a:gd name="T24" fmla="*/ 48 w 80"/>
                <a:gd name="T25" fmla="*/ 77 h 80"/>
                <a:gd name="T26" fmla="*/ 46 w 80"/>
                <a:gd name="T27" fmla="*/ 79 h 80"/>
                <a:gd name="T28" fmla="*/ 40 w 80"/>
                <a:gd name="T2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42"/>
                    <a:pt x="80" y="44"/>
                    <a:pt x="79" y="47"/>
                  </a:cubicBezTo>
                  <a:cubicBezTo>
                    <a:pt x="79" y="48"/>
                    <a:pt x="78" y="48"/>
                    <a:pt x="77" y="48"/>
                  </a:cubicBezTo>
                  <a:cubicBezTo>
                    <a:pt x="76" y="48"/>
                    <a:pt x="75" y="47"/>
                    <a:pt x="76" y="46"/>
                  </a:cubicBezTo>
                  <a:cubicBezTo>
                    <a:pt x="76" y="44"/>
                    <a:pt x="76" y="42"/>
                    <a:pt x="76" y="40"/>
                  </a:cubicBezTo>
                  <a:cubicBezTo>
                    <a:pt x="76" y="20"/>
                    <a:pt x="60" y="4"/>
                    <a:pt x="40" y="4"/>
                  </a:cubicBezTo>
                  <a:cubicBezTo>
                    <a:pt x="20" y="4"/>
                    <a:pt x="4" y="20"/>
                    <a:pt x="4" y="40"/>
                  </a:cubicBezTo>
                  <a:cubicBezTo>
                    <a:pt x="4" y="60"/>
                    <a:pt x="20" y="76"/>
                    <a:pt x="40" y="76"/>
                  </a:cubicBezTo>
                  <a:cubicBezTo>
                    <a:pt x="42" y="76"/>
                    <a:pt x="44" y="76"/>
                    <a:pt x="46" y="76"/>
                  </a:cubicBezTo>
                  <a:cubicBezTo>
                    <a:pt x="47" y="75"/>
                    <a:pt x="48" y="76"/>
                    <a:pt x="48" y="77"/>
                  </a:cubicBezTo>
                  <a:cubicBezTo>
                    <a:pt x="48" y="78"/>
                    <a:pt x="48" y="79"/>
                    <a:pt x="46" y="79"/>
                  </a:cubicBezTo>
                  <a:cubicBezTo>
                    <a:pt x="44" y="80"/>
                    <a:pt x="42" y="80"/>
                    <a:pt x="40" y="8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660">
              <a:extLst>
                <a:ext uri="{FF2B5EF4-FFF2-40B4-BE49-F238E27FC236}">
                  <a16:creationId xmlns:a16="http://schemas.microsoft.com/office/drawing/2014/main" id="{C32F3CF4-FB61-4D55-BF09-B34179179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2946401"/>
              <a:ext cx="179388" cy="18097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46 w 48"/>
                <a:gd name="T9" fmla="*/ 26 h 48"/>
                <a:gd name="T10" fmla="*/ 44 w 48"/>
                <a:gd name="T11" fmla="*/ 24 h 48"/>
                <a:gd name="T12" fmla="*/ 24 w 48"/>
                <a:gd name="T13" fmla="*/ 4 h 48"/>
                <a:gd name="T14" fmla="*/ 4 w 48"/>
                <a:gd name="T15" fmla="*/ 24 h 48"/>
                <a:gd name="T16" fmla="*/ 24 w 48"/>
                <a:gd name="T17" fmla="*/ 44 h 48"/>
                <a:gd name="T18" fmla="*/ 26 w 48"/>
                <a:gd name="T19" fmla="*/ 46 h 48"/>
                <a:gd name="T20" fmla="*/ 24 w 48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5"/>
                    <a:pt x="47" y="26"/>
                    <a:pt x="46" y="26"/>
                  </a:cubicBezTo>
                  <a:cubicBezTo>
                    <a:pt x="45" y="26"/>
                    <a:pt x="44" y="25"/>
                    <a:pt x="44" y="24"/>
                  </a:cubicBezTo>
                  <a:cubicBezTo>
                    <a:pt x="44" y="13"/>
                    <a:pt x="35" y="4"/>
                    <a:pt x="24" y="4"/>
                  </a:cubicBezTo>
                  <a:cubicBezTo>
                    <a:pt x="13" y="4"/>
                    <a:pt x="4" y="13"/>
                    <a:pt x="4" y="24"/>
                  </a:cubicBezTo>
                  <a:cubicBezTo>
                    <a:pt x="4" y="35"/>
                    <a:pt x="13" y="44"/>
                    <a:pt x="24" y="44"/>
                  </a:cubicBezTo>
                  <a:cubicBezTo>
                    <a:pt x="25" y="44"/>
                    <a:pt x="26" y="45"/>
                    <a:pt x="26" y="46"/>
                  </a:cubicBezTo>
                  <a:cubicBezTo>
                    <a:pt x="26" y="47"/>
                    <a:pt x="25" y="48"/>
                    <a:pt x="24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F8744FC-76B7-430F-A20C-31B0FE59D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5</a:t>
            </a:fld>
            <a:endParaRPr lang="en-ID" sz="1050" dirty="0">
              <a:solidFill>
                <a:schemeClr val="bg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97C2CC9-090A-4DE7-8925-627DB75DC1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903" y="6393066"/>
            <a:ext cx="658943" cy="315224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AB31AE3-D102-4151-9D19-21C2419E8899}"/>
              </a:ext>
            </a:extLst>
          </p:cNvPr>
          <p:cNvSpPr txBox="1">
            <a:spLocks/>
          </p:cNvSpPr>
          <p:nvPr/>
        </p:nvSpPr>
        <p:spPr>
          <a:xfrm>
            <a:off x="667657" y="1378856"/>
            <a:ext cx="5094514" cy="10885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20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A34EB4-88F2-A5C7-2655-36E2981D0D87}"/>
              </a:ext>
            </a:extLst>
          </p:cNvPr>
          <p:cNvSpPr txBox="1"/>
          <p:nvPr/>
        </p:nvSpPr>
        <p:spPr>
          <a:xfrm>
            <a:off x="1440180" y="1276446"/>
            <a:ext cx="419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solidFill>
                  <a:srgbClr val="000000"/>
                </a:solidFill>
              </a:rPr>
              <a:t>Each Product Line’s Revenue</a:t>
            </a:r>
            <a:endParaRPr lang="en-IN" sz="2400" u="sng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0D5909-F7D2-8D1C-DE5E-F1BCBA35B2E6}"/>
              </a:ext>
            </a:extLst>
          </p:cNvPr>
          <p:cNvSpPr txBox="1"/>
          <p:nvPr/>
        </p:nvSpPr>
        <p:spPr>
          <a:xfrm>
            <a:off x="958396" y="2320290"/>
            <a:ext cx="468947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Food and Beverages</a:t>
            </a:r>
            <a:r>
              <a:rPr lang="en-US" sz="2000" dirty="0"/>
              <a:t> has the </a:t>
            </a:r>
            <a:r>
              <a:rPr lang="en-US" sz="2000" dirty="0">
                <a:solidFill>
                  <a:srgbClr val="FF0000"/>
                </a:solidFill>
              </a:rPr>
              <a:t>highest</a:t>
            </a:r>
            <a:r>
              <a:rPr lang="en-US" sz="2000" dirty="0"/>
              <a:t> generated revenue </a:t>
            </a:r>
            <a:r>
              <a:rPr lang="en-US" sz="2000" dirty="0">
                <a:solidFill>
                  <a:srgbClr val="000000"/>
                </a:solidFill>
              </a:rPr>
              <a:t>of approx. </a:t>
            </a:r>
            <a:r>
              <a:rPr lang="en-US" sz="2000" dirty="0"/>
              <a:t> </a:t>
            </a:r>
            <a:r>
              <a:rPr lang="en-US" sz="2000" b="1" dirty="0"/>
              <a:t>$</a:t>
            </a:r>
            <a:r>
              <a:rPr lang="en-US" sz="2000" dirty="0"/>
              <a:t>53,470.</a:t>
            </a:r>
          </a:p>
          <a:p>
            <a:endParaRPr lang="en-US" sz="2000" dirty="0"/>
          </a:p>
          <a:p>
            <a:r>
              <a:rPr lang="en-IN" sz="2000" b="1" dirty="0">
                <a:solidFill>
                  <a:srgbClr val="FF0000"/>
                </a:solidFill>
              </a:rPr>
              <a:t>Health and Beauty</a:t>
            </a:r>
            <a:r>
              <a:rPr lang="en-IN" sz="2000" dirty="0"/>
              <a:t> has the </a:t>
            </a:r>
            <a:r>
              <a:rPr lang="en-IN" sz="2000" dirty="0">
                <a:solidFill>
                  <a:srgbClr val="FF0000"/>
                </a:solidFill>
              </a:rPr>
              <a:t>lowest</a:t>
            </a:r>
            <a:r>
              <a:rPr lang="en-IN" sz="2000" dirty="0"/>
              <a:t> generated revenue of almost </a:t>
            </a:r>
            <a:r>
              <a:rPr lang="en-IN" sz="2000" b="1" dirty="0"/>
              <a:t>$</a:t>
            </a:r>
            <a:r>
              <a:rPr lang="en-IN" sz="2000" dirty="0"/>
              <a:t>46,850.</a:t>
            </a:r>
          </a:p>
          <a:p>
            <a:endParaRPr lang="en-IN" sz="2000" dirty="0"/>
          </a:p>
          <a:p>
            <a:r>
              <a:rPr lang="en-IN" sz="2000" b="1" dirty="0">
                <a:solidFill>
                  <a:srgbClr val="FF0000"/>
                </a:solidFill>
              </a:rPr>
              <a:t>Sports and Travel</a:t>
            </a:r>
            <a:r>
              <a:rPr lang="en-IN" sz="2000" b="1" dirty="0"/>
              <a:t> -</a:t>
            </a:r>
            <a:r>
              <a:rPr lang="en-IN" sz="2000" dirty="0"/>
              <a:t> </a:t>
            </a:r>
            <a:r>
              <a:rPr lang="en-IN" sz="2000" b="1" dirty="0"/>
              <a:t>$</a:t>
            </a:r>
            <a:r>
              <a:rPr lang="en-IN" sz="2000" dirty="0"/>
              <a:t>52,500.</a:t>
            </a:r>
          </a:p>
          <a:p>
            <a:endParaRPr lang="en-IN" sz="2000" dirty="0"/>
          </a:p>
          <a:p>
            <a:r>
              <a:rPr lang="en-IN" sz="2000" b="1" dirty="0">
                <a:solidFill>
                  <a:srgbClr val="FF0000"/>
                </a:solidFill>
              </a:rPr>
              <a:t>Electronic Accessories</a:t>
            </a:r>
            <a:r>
              <a:rPr lang="en-IN" sz="2000" dirty="0">
                <a:solidFill>
                  <a:srgbClr val="FF0000"/>
                </a:solidFill>
              </a:rPr>
              <a:t> </a:t>
            </a:r>
            <a:r>
              <a:rPr lang="en-IN" sz="2000" b="1" dirty="0">
                <a:solidFill>
                  <a:srgbClr val="000000"/>
                </a:solidFill>
              </a:rPr>
              <a:t>-</a:t>
            </a:r>
            <a:r>
              <a:rPr lang="en-IN" sz="2000" dirty="0">
                <a:solidFill>
                  <a:srgbClr val="000000"/>
                </a:solidFill>
              </a:rPr>
              <a:t> </a:t>
            </a:r>
            <a:r>
              <a:rPr lang="en-IN" sz="2000" b="1" dirty="0">
                <a:solidFill>
                  <a:srgbClr val="000000"/>
                </a:solidFill>
              </a:rPr>
              <a:t>$ </a:t>
            </a:r>
            <a:r>
              <a:rPr lang="en-IN" sz="2000" dirty="0">
                <a:solidFill>
                  <a:srgbClr val="000000"/>
                </a:solidFill>
              </a:rPr>
              <a:t>51,750</a:t>
            </a:r>
          </a:p>
          <a:p>
            <a:endParaRPr lang="en-IN" sz="2000" dirty="0">
              <a:solidFill>
                <a:srgbClr val="000000"/>
              </a:solidFill>
            </a:endParaRPr>
          </a:p>
          <a:p>
            <a:r>
              <a:rPr lang="en-IN" sz="2000" b="1" dirty="0">
                <a:solidFill>
                  <a:srgbClr val="FF0000"/>
                </a:solidFill>
              </a:rPr>
              <a:t>Fashion Accessories</a:t>
            </a:r>
            <a:r>
              <a:rPr lang="en-IN" sz="2000" dirty="0">
                <a:solidFill>
                  <a:srgbClr val="000000"/>
                </a:solidFill>
              </a:rPr>
              <a:t> </a:t>
            </a:r>
            <a:r>
              <a:rPr lang="en-IN" sz="2000" b="1" dirty="0">
                <a:solidFill>
                  <a:srgbClr val="000000"/>
                </a:solidFill>
              </a:rPr>
              <a:t>-</a:t>
            </a:r>
            <a:r>
              <a:rPr lang="en-IN" sz="2000" dirty="0">
                <a:solidFill>
                  <a:srgbClr val="000000"/>
                </a:solidFill>
              </a:rPr>
              <a:t> </a:t>
            </a:r>
            <a:r>
              <a:rPr lang="en-IN" sz="2000" b="1" dirty="0">
                <a:solidFill>
                  <a:srgbClr val="000000"/>
                </a:solidFill>
              </a:rPr>
              <a:t>$</a:t>
            </a:r>
            <a:r>
              <a:rPr lang="en-IN" sz="2000" dirty="0">
                <a:solidFill>
                  <a:srgbClr val="000000"/>
                </a:solidFill>
              </a:rPr>
              <a:t>51,720</a:t>
            </a:r>
          </a:p>
          <a:p>
            <a:endParaRPr lang="en-IN" sz="2000" dirty="0">
              <a:solidFill>
                <a:srgbClr val="000000"/>
              </a:solidFill>
            </a:endParaRPr>
          </a:p>
          <a:p>
            <a:r>
              <a:rPr lang="en-IN" sz="2000" b="1" dirty="0">
                <a:solidFill>
                  <a:srgbClr val="FF0000"/>
                </a:solidFill>
              </a:rPr>
              <a:t>Home and Lifestyle</a:t>
            </a:r>
            <a:r>
              <a:rPr lang="en-IN" sz="2000" dirty="0">
                <a:solidFill>
                  <a:srgbClr val="FF0000"/>
                </a:solidFill>
              </a:rPr>
              <a:t> </a:t>
            </a:r>
            <a:r>
              <a:rPr lang="en-IN" sz="2000" b="1" dirty="0">
                <a:solidFill>
                  <a:srgbClr val="000000"/>
                </a:solidFill>
              </a:rPr>
              <a:t>- $</a:t>
            </a:r>
            <a:r>
              <a:rPr lang="en-IN" sz="2000" dirty="0">
                <a:solidFill>
                  <a:srgbClr val="000000"/>
                </a:solidFill>
              </a:rPr>
              <a:t>51,300</a:t>
            </a:r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67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Woman in online meeting">
            <a:extLst>
              <a:ext uri="{FF2B5EF4-FFF2-40B4-BE49-F238E27FC236}">
                <a16:creationId xmlns:a16="http://schemas.microsoft.com/office/drawing/2014/main" id="{D0F9FA90-33E7-4055-A5C3-9CCC85ED0A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9410" r="47205"/>
          <a:stretch/>
        </p:blipFill>
        <p:spPr>
          <a:xfrm>
            <a:off x="6096000" y="1382690"/>
            <a:ext cx="6096000" cy="4664117"/>
          </a:xfrm>
          <a:prstGeom prst="rect">
            <a:avLst/>
          </a:prstGeom>
        </p:spPr>
      </p:pic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667657" y="290515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r>
              <a:rPr lang="en-ID" sz="4000" dirty="0"/>
              <a:t>Revenue Per City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3B101DB-D276-45E3-89AE-7E29F7254EB7}"/>
              </a:ext>
            </a:extLst>
          </p:cNvPr>
          <p:cNvSpPr/>
          <p:nvPr/>
        </p:nvSpPr>
        <p:spPr>
          <a:xfrm>
            <a:off x="6096000" y="1382692"/>
            <a:ext cx="6096000" cy="4664116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8C959DF-1654-4856-A054-FD3280AAAB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0973880"/>
              </p:ext>
            </p:extLst>
          </p:nvPr>
        </p:nvGraphicFramePr>
        <p:xfrm>
          <a:off x="6544129" y="2375303"/>
          <a:ext cx="5199742" cy="3632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580C982-B22C-4AF9-A4AC-B5559C15E814}"/>
              </a:ext>
            </a:extLst>
          </p:cNvPr>
          <p:cNvSpPr txBox="1">
            <a:spLocks/>
          </p:cNvSpPr>
          <p:nvPr/>
        </p:nvSpPr>
        <p:spPr>
          <a:xfrm>
            <a:off x="7052975" y="1382692"/>
            <a:ext cx="4182050" cy="465282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FE9900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e chart of city revenu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A1D499A-39BE-409A-AA6A-B199A2947C99}"/>
              </a:ext>
            </a:extLst>
          </p:cNvPr>
          <p:cNvSpPr/>
          <p:nvPr/>
        </p:nvSpPr>
        <p:spPr>
          <a:xfrm>
            <a:off x="647700" y="1162146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9F22A9F-72C7-4CC7-8371-1105961C8675}"/>
              </a:ext>
            </a:extLst>
          </p:cNvPr>
          <p:cNvSpPr txBox="1">
            <a:spLocks/>
          </p:cNvSpPr>
          <p:nvPr/>
        </p:nvSpPr>
        <p:spPr>
          <a:xfrm>
            <a:off x="667656" y="2242580"/>
            <a:ext cx="5118706" cy="90260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4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FFD419B-9294-4FD9-B13E-6161FDB92742}"/>
              </a:ext>
            </a:extLst>
          </p:cNvPr>
          <p:cNvGrpSpPr/>
          <p:nvPr/>
        </p:nvGrpSpPr>
        <p:grpSpPr>
          <a:xfrm>
            <a:off x="815521" y="1320216"/>
            <a:ext cx="355600" cy="358775"/>
            <a:chOff x="6276975" y="2886076"/>
            <a:chExt cx="355600" cy="358775"/>
          </a:xfrm>
        </p:grpSpPr>
        <p:sp>
          <p:nvSpPr>
            <p:cNvPr id="56" name="Freeform 658">
              <a:extLst>
                <a:ext uri="{FF2B5EF4-FFF2-40B4-BE49-F238E27FC236}">
                  <a16:creationId xmlns:a16="http://schemas.microsoft.com/office/drawing/2014/main" id="{0F31BDE8-6C48-4C4E-AAE9-1D1D6C832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030538"/>
              <a:ext cx="212725" cy="214313"/>
            </a:xfrm>
            <a:custGeom>
              <a:avLst/>
              <a:gdLst>
                <a:gd name="T0" fmla="*/ 29 w 57"/>
                <a:gd name="T1" fmla="*/ 57 h 57"/>
                <a:gd name="T2" fmla="*/ 27 w 57"/>
                <a:gd name="T3" fmla="*/ 56 h 57"/>
                <a:gd name="T4" fmla="*/ 0 w 57"/>
                <a:gd name="T5" fmla="*/ 3 h 57"/>
                <a:gd name="T6" fmla="*/ 1 w 57"/>
                <a:gd name="T7" fmla="*/ 1 h 57"/>
                <a:gd name="T8" fmla="*/ 3 w 57"/>
                <a:gd name="T9" fmla="*/ 0 h 57"/>
                <a:gd name="T10" fmla="*/ 56 w 57"/>
                <a:gd name="T11" fmla="*/ 27 h 57"/>
                <a:gd name="T12" fmla="*/ 57 w 57"/>
                <a:gd name="T13" fmla="*/ 29 h 57"/>
                <a:gd name="T14" fmla="*/ 56 w 57"/>
                <a:gd name="T15" fmla="*/ 31 h 57"/>
                <a:gd name="T16" fmla="*/ 36 w 57"/>
                <a:gd name="T17" fmla="*/ 36 h 57"/>
                <a:gd name="T18" fmla="*/ 31 w 57"/>
                <a:gd name="T19" fmla="*/ 56 h 57"/>
                <a:gd name="T20" fmla="*/ 29 w 57"/>
                <a:gd name="T21" fmla="*/ 57 h 57"/>
                <a:gd name="T22" fmla="*/ 29 w 57"/>
                <a:gd name="T23" fmla="*/ 57 h 57"/>
                <a:gd name="T24" fmla="*/ 6 w 57"/>
                <a:gd name="T25" fmla="*/ 6 h 57"/>
                <a:gd name="T26" fmla="*/ 28 w 57"/>
                <a:gd name="T27" fmla="*/ 50 h 57"/>
                <a:gd name="T28" fmla="*/ 32 w 57"/>
                <a:gd name="T29" fmla="*/ 34 h 57"/>
                <a:gd name="T30" fmla="*/ 34 w 57"/>
                <a:gd name="T31" fmla="*/ 32 h 57"/>
                <a:gd name="T32" fmla="*/ 50 w 57"/>
                <a:gd name="T33" fmla="*/ 28 h 57"/>
                <a:gd name="T34" fmla="*/ 6 w 57"/>
                <a:gd name="T35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28" y="57"/>
                    <a:pt x="27" y="57"/>
                    <a:pt x="27" y="5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7" y="27"/>
                    <a:pt x="57" y="28"/>
                    <a:pt x="57" y="29"/>
                  </a:cubicBezTo>
                  <a:cubicBezTo>
                    <a:pt x="57" y="30"/>
                    <a:pt x="57" y="30"/>
                    <a:pt x="56" y="3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6" y="6"/>
                  </a:moveTo>
                  <a:cubicBezTo>
                    <a:pt x="28" y="50"/>
                    <a:pt x="28" y="50"/>
                    <a:pt x="28" y="50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3"/>
                    <a:pt x="33" y="32"/>
                    <a:pt x="34" y="32"/>
                  </a:cubicBezTo>
                  <a:cubicBezTo>
                    <a:pt x="50" y="28"/>
                    <a:pt x="50" y="28"/>
                    <a:pt x="50" y="28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659">
              <a:extLst>
                <a:ext uri="{FF2B5EF4-FFF2-40B4-BE49-F238E27FC236}">
                  <a16:creationId xmlns:a16="http://schemas.microsoft.com/office/drawing/2014/main" id="{B2E5E7F1-B800-4BDC-8D40-429F9E8E8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2886076"/>
              <a:ext cx="300038" cy="301625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79 w 80"/>
                <a:gd name="T9" fmla="*/ 47 h 80"/>
                <a:gd name="T10" fmla="*/ 77 w 80"/>
                <a:gd name="T11" fmla="*/ 48 h 80"/>
                <a:gd name="T12" fmla="*/ 76 w 80"/>
                <a:gd name="T13" fmla="*/ 46 h 80"/>
                <a:gd name="T14" fmla="*/ 76 w 80"/>
                <a:gd name="T15" fmla="*/ 40 h 80"/>
                <a:gd name="T16" fmla="*/ 40 w 80"/>
                <a:gd name="T17" fmla="*/ 4 h 80"/>
                <a:gd name="T18" fmla="*/ 4 w 80"/>
                <a:gd name="T19" fmla="*/ 40 h 80"/>
                <a:gd name="T20" fmla="*/ 40 w 80"/>
                <a:gd name="T21" fmla="*/ 76 h 80"/>
                <a:gd name="T22" fmla="*/ 46 w 80"/>
                <a:gd name="T23" fmla="*/ 76 h 80"/>
                <a:gd name="T24" fmla="*/ 48 w 80"/>
                <a:gd name="T25" fmla="*/ 77 h 80"/>
                <a:gd name="T26" fmla="*/ 46 w 80"/>
                <a:gd name="T27" fmla="*/ 79 h 80"/>
                <a:gd name="T28" fmla="*/ 40 w 80"/>
                <a:gd name="T2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42"/>
                    <a:pt x="80" y="44"/>
                    <a:pt x="79" y="47"/>
                  </a:cubicBezTo>
                  <a:cubicBezTo>
                    <a:pt x="79" y="48"/>
                    <a:pt x="78" y="48"/>
                    <a:pt x="77" y="48"/>
                  </a:cubicBezTo>
                  <a:cubicBezTo>
                    <a:pt x="76" y="48"/>
                    <a:pt x="75" y="47"/>
                    <a:pt x="76" y="46"/>
                  </a:cubicBezTo>
                  <a:cubicBezTo>
                    <a:pt x="76" y="44"/>
                    <a:pt x="76" y="42"/>
                    <a:pt x="76" y="40"/>
                  </a:cubicBezTo>
                  <a:cubicBezTo>
                    <a:pt x="76" y="20"/>
                    <a:pt x="60" y="4"/>
                    <a:pt x="40" y="4"/>
                  </a:cubicBezTo>
                  <a:cubicBezTo>
                    <a:pt x="20" y="4"/>
                    <a:pt x="4" y="20"/>
                    <a:pt x="4" y="40"/>
                  </a:cubicBezTo>
                  <a:cubicBezTo>
                    <a:pt x="4" y="60"/>
                    <a:pt x="20" y="76"/>
                    <a:pt x="40" y="76"/>
                  </a:cubicBezTo>
                  <a:cubicBezTo>
                    <a:pt x="42" y="76"/>
                    <a:pt x="44" y="76"/>
                    <a:pt x="46" y="76"/>
                  </a:cubicBezTo>
                  <a:cubicBezTo>
                    <a:pt x="47" y="75"/>
                    <a:pt x="48" y="76"/>
                    <a:pt x="48" y="77"/>
                  </a:cubicBezTo>
                  <a:cubicBezTo>
                    <a:pt x="48" y="78"/>
                    <a:pt x="48" y="79"/>
                    <a:pt x="46" y="79"/>
                  </a:cubicBezTo>
                  <a:cubicBezTo>
                    <a:pt x="44" y="80"/>
                    <a:pt x="42" y="80"/>
                    <a:pt x="40" y="8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660">
              <a:extLst>
                <a:ext uri="{FF2B5EF4-FFF2-40B4-BE49-F238E27FC236}">
                  <a16:creationId xmlns:a16="http://schemas.microsoft.com/office/drawing/2014/main" id="{C32F3CF4-FB61-4D55-BF09-B34179179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2946401"/>
              <a:ext cx="179388" cy="18097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46 w 48"/>
                <a:gd name="T9" fmla="*/ 26 h 48"/>
                <a:gd name="T10" fmla="*/ 44 w 48"/>
                <a:gd name="T11" fmla="*/ 24 h 48"/>
                <a:gd name="T12" fmla="*/ 24 w 48"/>
                <a:gd name="T13" fmla="*/ 4 h 48"/>
                <a:gd name="T14" fmla="*/ 4 w 48"/>
                <a:gd name="T15" fmla="*/ 24 h 48"/>
                <a:gd name="T16" fmla="*/ 24 w 48"/>
                <a:gd name="T17" fmla="*/ 44 h 48"/>
                <a:gd name="T18" fmla="*/ 26 w 48"/>
                <a:gd name="T19" fmla="*/ 46 h 48"/>
                <a:gd name="T20" fmla="*/ 24 w 48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5"/>
                    <a:pt x="47" y="26"/>
                    <a:pt x="46" y="26"/>
                  </a:cubicBezTo>
                  <a:cubicBezTo>
                    <a:pt x="45" y="26"/>
                    <a:pt x="44" y="25"/>
                    <a:pt x="44" y="24"/>
                  </a:cubicBezTo>
                  <a:cubicBezTo>
                    <a:pt x="44" y="13"/>
                    <a:pt x="35" y="4"/>
                    <a:pt x="24" y="4"/>
                  </a:cubicBezTo>
                  <a:cubicBezTo>
                    <a:pt x="13" y="4"/>
                    <a:pt x="4" y="13"/>
                    <a:pt x="4" y="24"/>
                  </a:cubicBezTo>
                  <a:cubicBezTo>
                    <a:pt x="4" y="35"/>
                    <a:pt x="13" y="44"/>
                    <a:pt x="24" y="44"/>
                  </a:cubicBezTo>
                  <a:cubicBezTo>
                    <a:pt x="25" y="44"/>
                    <a:pt x="26" y="45"/>
                    <a:pt x="26" y="46"/>
                  </a:cubicBezTo>
                  <a:cubicBezTo>
                    <a:pt x="26" y="47"/>
                    <a:pt x="25" y="48"/>
                    <a:pt x="24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F8744FC-76B7-430F-A20C-31B0FE59D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38319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6</a:t>
            </a:fld>
            <a:endParaRPr lang="en-ID" sz="1050" dirty="0">
              <a:solidFill>
                <a:schemeClr val="bg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97C2CC9-090A-4DE7-8925-627DB75DC1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33" y="6526298"/>
            <a:ext cx="641874" cy="193626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AB31AE3-D102-4151-9D19-21C2419E8899}"/>
              </a:ext>
            </a:extLst>
          </p:cNvPr>
          <p:cNvSpPr txBox="1">
            <a:spLocks/>
          </p:cNvSpPr>
          <p:nvPr/>
        </p:nvSpPr>
        <p:spPr>
          <a:xfrm>
            <a:off x="667656" y="1927761"/>
            <a:ext cx="5094514" cy="10885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20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A34EB4-88F2-A5C7-2655-36E2981D0D87}"/>
              </a:ext>
            </a:extLst>
          </p:cNvPr>
          <p:cNvSpPr txBox="1"/>
          <p:nvPr/>
        </p:nvSpPr>
        <p:spPr>
          <a:xfrm>
            <a:off x="1425977" y="1247740"/>
            <a:ext cx="419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solidFill>
                  <a:srgbClr val="000000"/>
                </a:solidFill>
              </a:rPr>
              <a:t>Each city’s revenue</a:t>
            </a:r>
            <a:endParaRPr lang="en-IN" sz="2400" u="sng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0D5909-F7D2-8D1C-DE5E-F1BCBA35B2E6}"/>
              </a:ext>
            </a:extLst>
          </p:cNvPr>
          <p:cNvSpPr txBox="1"/>
          <p:nvPr/>
        </p:nvSpPr>
        <p:spPr>
          <a:xfrm>
            <a:off x="958396" y="2354580"/>
            <a:ext cx="468947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Naypyitaw</a:t>
            </a:r>
            <a:r>
              <a:rPr lang="en-US" sz="2800" dirty="0"/>
              <a:t> has the </a:t>
            </a:r>
            <a:r>
              <a:rPr lang="en-US" sz="2800" dirty="0">
                <a:solidFill>
                  <a:srgbClr val="FF0000"/>
                </a:solidFill>
              </a:rPr>
              <a:t>highest</a:t>
            </a:r>
            <a:r>
              <a:rPr lang="en-US" sz="2800" dirty="0"/>
              <a:t> generated revenue </a:t>
            </a:r>
            <a:r>
              <a:rPr lang="en-US" sz="2800" dirty="0">
                <a:solidFill>
                  <a:srgbClr val="000000"/>
                </a:solidFill>
              </a:rPr>
              <a:t>of approx. </a:t>
            </a:r>
            <a:r>
              <a:rPr lang="en-US" sz="2800" dirty="0"/>
              <a:t> $1,05,300</a:t>
            </a:r>
          </a:p>
          <a:p>
            <a:endParaRPr lang="en-US" sz="2800" dirty="0"/>
          </a:p>
          <a:p>
            <a:r>
              <a:rPr lang="en-IN" sz="2800" b="1" dirty="0">
                <a:solidFill>
                  <a:srgbClr val="ED7D31"/>
                </a:solidFill>
              </a:rPr>
              <a:t>Yangon</a:t>
            </a:r>
            <a:r>
              <a:rPr lang="en-IN" sz="2800" dirty="0"/>
              <a:t> - $1,01,143</a:t>
            </a:r>
          </a:p>
          <a:p>
            <a:endParaRPr lang="en-IN" sz="2800" dirty="0"/>
          </a:p>
          <a:p>
            <a:r>
              <a:rPr lang="en-IN" sz="2800" b="1" dirty="0">
                <a:solidFill>
                  <a:schemeClr val="accent3">
                    <a:lumMod val="50000"/>
                  </a:schemeClr>
                </a:solidFill>
              </a:rPr>
              <a:t>Mandalay</a:t>
            </a:r>
            <a:r>
              <a:rPr lang="en-IN" sz="2800" dirty="0"/>
              <a:t> - $1,01,140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762340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itle 1">
            <a:extLst>
              <a:ext uri="{FF2B5EF4-FFF2-40B4-BE49-F238E27FC236}">
                <a16:creationId xmlns:a16="http://schemas.microsoft.com/office/drawing/2014/main" id="{31984DCD-3DBC-41AA-9368-EA52D0D54228}"/>
              </a:ext>
            </a:extLst>
          </p:cNvPr>
          <p:cNvSpPr txBox="1">
            <a:spLocks/>
          </p:cNvSpPr>
          <p:nvPr/>
        </p:nvSpPr>
        <p:spPr>
          <a:xfrm>
            <a:off x="164969" y="-96789"/>
            <a:ext cx="10509929" cy="667657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/>
            <a:endParaRPr lang="en-ID" sz="4000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4A7B9BF-8BAA-4D7B-B034-A017F30791F5}"/>
              </a:ext>
            </a:extLst>
          </p:cNvPr>
          <p:cNvSpPr/>
          <p:nvPr/>
        </p:nvSpPr>
        <p:spPr>
          <a:xfrm>
            <a:off x="1181326" y="2133142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endParaRPr lang="en-US" sz="16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85C97123-AB5E-4145-B936-53A9C20F9421}"/>
              </a:ext>
            </a:extLst>
          </p:cNvPr>
          <p:cNvSpPr/>
          <p:nvPr/>
        </p:nvSpPr>
        <p:spPr>
          <a:xfrm>
            <a:off x="416197" y="3075890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DA7FED7F-9683-44B9-B501-D906DE6BBDEE}"/>
              </a:ext>
            </a:extLst>
          </p:cNvPr>
          <p:cNvSpPr/>
          <p:nvPr/>
        </p:nvSpPr>
        <p:spPr>
          <a:xfrm>
            <a:off x="396240" y="3075890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D38451A-3AEB-445C-B82B-1BF073F9FEB6}"/>
              </a:ext>
            </a:extLst>
          </p:cNvPr>
          <p:cNvSpPr/>
          <p:nvPr/>
        </p:nvSpPr>
        <p:spPr>
          <a:xfrm>
            <a:off x="1181326" y="3207768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ectronic Accessories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A6CA2633-BBA3-4684-B613-D8E86034791A}"/>
              </a:ext>
            </a:extLst>
          </p:cNvPr>
          <p:cNvSpPr/>
          <p:nvPr/>
        </p:nvSpPr>
        <p:spPr>
          <a:xfrm>
            <a:off x="416197" y="4150516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A1ECE8ED-2159-4E5A-92F4-B1A6336A3FD8}"/>
              </a:ext>
            </a:extLst>
          </p:cNvPr>
          <p:cNvSpPr/>
          <p:nvPr/>
        </p:nvSpPr>
        <p:spPr>
          <a:xfrm>
            <a:off x="396240" y="4150516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557EE4B-CB99-4174-9A9F-8FA4EAAFF58F}"/>
              </a:ext>
            </a:extLst>
          </p:cNvPr>
          <p:cNvSpPr/>
          <p:nvPr/>
        </p:nvSpPr>
        <p:spPr>
          <a:xfrm>
            <a:off x="1181326" y="4282394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orts and Travel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27CBEA2F-8E93-470F-8D64-9726DACA87F7}"/>
              </a:ext>
            </a:extLst>
          </p:cNvPr>
          <p:cNvSpPr/>
          <p:nvPr/>
        </p:nvSpPr>
        <p:spPr>
          <a:xfrm>
            <a:off x="416197" y="522514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129B7384-5713-462B-B485-F22BD2A22A01}"/>
              </a:ext>
            </a:extLst>
          </p:cNvPr>
          <p:cNvSpPr/>
          <p:nvPr/>
        </p:nvSpPr>
        <p:spPr>
          <a:xfrm>
            <a:off x="396240" y="522514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3949954-1B35-4BBC-A210-A18BDDD60AC3}"/>
              </a:ext>
            </a:extLst>
          </p:cNvPr>
          <p:cNvSpPr/>
          <p:nvPr/>
        </p:nvSpPr>
        <p:spPr>
          <a:xfrm>
            <a:off x="1181326" y="535702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me and Lifestyle</a:t>
            </a:r>
          </a:p>
        </p:txBody>
      </p:sp>
      <p:sp>
        <p:nvSpPr>
          <p:cNvPr id="125" name="Rectangle: Top Corners Rounded 124">
            <a:extLst>
              <a:ext uri="{FF2B5EF4-FFF2-40B4-BE49-F238E27FC236}">
                <a16:creationId xmlns:a16="http://schemas.microsoft.com/office/drawing/2014/main" id="{FA2DD85A-D468-4E74-B784-8BDC160DA8AA}"/>
              </a:ext>
            </a:extLst>
          </p:cNvPr>
          <p:cNvSpPr/>
          <p:nvPr/>
        </p:nvSpPr>
        <p:spPr>
          <a:xfrm>
            <a:off x="4637386" y="473455"/>
            <a:ext cx="3858710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atu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F1539F-586C-4AB1-97D7-718D15B0C344}"/>
              </a:ext>
            </a:extLst>
          </p:cNvPr>
          <p:cNvCxnSpPr/>
          <p:nvPr/>
        </p:nvCxnSpPr>
        <p:spPr>
          <a:xfrm>
            <a:off x="3360420" y="2876034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3958621-6384-4510-B9A9-D40C5858021E}"/>
              </a:ext>
            </a:extLst>
          </p:cNvPr>
          <p:cNvCxnSpPr/>
          <p:nvPr/>
        </p:nvCxnSpPr>
        <p:spPr>
          <a:xfrm>
            <a:off x="3360420" y="3950660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5FD664A-9E0E-41BA-B76F-5ED450066D49}"/>
              </a:ext>
            </a:extLst>
          </p:cNvPr>
          <p:cNvCxnSpPr/>
          <p:nvPr/>
        </p:nvCxnSpPr>
        <p:spPr>
          <a:xfrm>
            <a:off x="3360420" y="502528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D7CF7F0E-E3BE-4F7F-B752-95FA30C8539F}"/>
              </a:ext>
            </a:extLst>
          </p:cNvPr>
          <p:cNvCxnSpPr>
            <a:cxnSpLocks/>
          </p:cNvCxnSpPr>
          <p:nvPr/>
        </p:nvCxnSpPr>
        <p:spPr>
          <a:xfrm>
            <a:off x="4603096" y="796290"/>
            <a:ext cx="22860" cy="60502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6B2D5BB0-398B-4A7F-A88D-694527C411BF}"/>
              </a:ext>
            </a:extLst>
          </p:cNvPr>
          <p:cNvGrpSpPr/>
          <p:nvPr/>
        </p:nvGrpSpPr>
        <p:grpSpPr>
          <a:xfrm>
            <a:off x="585276" y="5419003"/>
            <a:ext cx="313171" cy="287194"/>
            <a:chOff x="7005638" y="2909888"/>
            <a:chExt cx="344488" cy="315913"/>
          </a:xfrm>
        </p:grpSpPr>
        <p:sp>
          <p:nvSpPr>
            <p:cNvPr id="170" name="Oval 302">
              <a:extLst>
                <a:ext uri="{FF2B5EF4-FFF2-40B4-BE49-F238E27FC236}">
                  <a16:creationId xmlns:a16="http://schemas.microsoft.com/office/drawing/2014/main" id="{37C5B34A-C34E-46C5-923D-5EF1DEF80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Oval 303">
              <a:extLst>
                <a:ext uri="{FF2B5EF4-FFF2-40B4-BE49-F238E27FC236}">
                  <a16:creationId xmlns:a16="http://schemas.microsoft.com/office/drawing/2014/main" id="{82E5A5A5-3DFE-4D5F-9B8E-D330C9CD7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Oval 304">
              <a:extLst>
                <a:ext uri="{FF2B5EF4-FFF2-40B4-BE49-F238E27FC236}">
                  <a16:creationId xmlns:a16="http://schemas.microsoft.com/office/drawing/2014/main" id="{3BB9AF55-F55B-4775-A3FF-A2DF7F15B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305">
              <a:extLst>
                <a:ext uri="{FF2B5EF4-FFF2-40B4-BE49-F238E27FC236}">
                  <a16:creationId xmlns:a16="http://schemas.microsoft.com/office/drawing/2014/main" id="{F6262395-E1A7-44E7-893B-16E8A1082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306">
              <a:extLst>
                <a:ext uri="{FF2B5EF4-FFF2-40B4-BE49-F238E27FC236}">
                  <a16:creationId xmlns:a16="http://schemas.microsoft.com/office/drawing/2014/main" id="{F34252E6-DCFE-4C97-BB4C-5E02D3306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307">
              <a:extLst>
                <a:ext uri="{FF2B5EF4-FFF2-40B4-BE49-F238E27FC236}">
                  <a16:creationId xmlns:a16="http://schemas.microsoft.com/office/drawing/2014/main" id="{E3DBE2EF-8597-4727-9C21-62815811F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308">
              <a:extLst>
                <a:ext uri="{FF2B5EF4-FFF2-40B4-BE49-F238E27FC236}">
                  <a16:creationId xmlns:a16="http://schemas.microsoft.com/office/drawing/2014/main" id="{080AADDD-30BE-4669-B2C4-9B60862C5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78" name="Slide Number Placeholder 3">
            <a:extLst>
              <a:ext uri="{FF2B5EF4-FFF2-40B4-BE49-F238E27FC236}">
                <a16:creationId xmlns:a16="http://schemas.microsoft.com/office/drawing/2014/main" id="{965A05F2-87D3-4366-A41F-7454C4E40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1914" y="6610581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7</a:t>
            </a:fld>
            <a:endParaRPr lang="en-ID" sz="1050" dirty="0">
              <a:solidFill>
                <a:schemeClr val="bg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0CDC8A7-2D19-F634-1BF3-76BF865516E8}"/>
              </a:ext>
            </a:extLst>
          </p:cNvPr>
          <p:cNvSpPr/>
          <p:nvPr/>
        </p:nvSpPr>
        <p:spPr>
          <a:xfrm>
            <a:off x="431437" y="615478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683DBBB-EC1D-9351-7D3A-84B64D2D931D}"/>
              </a:ext>
            </a:extLst>
          </p:cNvPr>
          <p:cNvSpPr/>
          <p:nvPr/>
        </p:nvSpPr>
        <p:spPr>
          <a:xfrm>
            <a:off x="411480" y="615478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8FE42A-E8B9-42C3-DEFD-58811BC0C979}"/>
              </a:ext>
            </a:extLst>
          </p:cNvPr>
          <p:cNvSpPr/>
          <p:nvPr/>
        </p:nvSpPr>
        <p:spPr>
          <a:xfrm>
            <a:off x="1196566" y="628666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lth and Beaut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F420D4-A868-D030-FEE3-5249C2DD9122}"/>
              </a:ext>
            </a:extLst>
          </p:cNvPr>
          <p:cNvGrpSpPr/>
          <p:nvPr/>
        </p:nvGrpSpPr>
        <p:grpSpPr>
          <a:xfrm>
            <a:off x="600516" y="6348643"/>
            <a:ext cx="313171" cy="287194"/>
            <a:chOff x="7005638" y="2909888"/>
            <a:chExt cx="344488" cy="315913"/>
          </a:xfrm>
        </p:grpSpPr>
        <p:sp>
          <p:nvSpPr>
            <p:cNvPr id="6" name="Oval 302">
              <a:extLst>
                <a:ext uri="{FF2B5EF4-FFF2-40B4-BE49-F238E27FC236}">
                  <a16:creationId xmlns:a16="http://schemas.microsoft.com/office/drawing/2014/main" id="{2DAF0412-A3A0-2234-F9E6-F54529F6E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Oval 303">
              <a:extLst>
                <a:ext uri="{FF2B5EF4-FFF2-40B4-BE49-F238E27FC236}">
                  <a16:creationId xmlns:a16="http://schemas.microsoft.com/office/drawing/2014/main" id="{036B7AFD-F449-2A09-0DB5-C82655BF8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304">
              <a:extLst>
                <a:ext uri="{FF2B5EF4-FFF2-40B4-BE49-F238E27FC236}">
                  <a16:creationId xmlns:a16="http://schemas.microsoft.com/office/drawing/2014/main" id="{E302821B-3109-F786-0730-D60A2C257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305">
              <a:extLst>
                <a:ext uri="{FF2B5EF4-FFF2-40B4-BE49-F238E27FC236}">
                  <a16:creationId xmlns:a16="http://schemas.microsoft.com/office/drawing/2014/main" id="{3CA5602A-55E4-29BC-97D6-F93E7E418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306">
              <a:extLst>
                <a:ext uri="{FF2B5EF4-FFF2-40B4-BE49-F238E27FC236}">
                  <a16:creationId xmlns:a16="http://schemas.microsoft.com/office/drawing/2014/main" id="{DED070A5-C181-4E1C-50FB-F83A262DD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307">
              <a:extLst>
                <a:ext uri="{FF2B5EF4-FFF2-40B4-BE49-F238E27FC236}">
                  <a16:creationId xmlns:a16="http://schemas.microsoft.com/office/drawing/2014/main" id="{23CD9AEF-5E9E-CD72-DBC6-C5ACA4B32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308">
              <a:extLst>
                <a:ext uri="{FF2B5EF4-FFF2-40B4-BE49-F238E27FC236}">
                  <a16:creationId xmlns:a16="http://schemas.microsoft.com/office/drawing/2014/main" id="{A13A0685-3157-5D95-B3E2-4520D6C9E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6C2E4AE-6844-E518-2B83-9ECF4ED029F6}"/>
              </a:ext>
            </a:extLst>
          </p:cNvPr>
          <p:cNvSpPr/>
          <p:nvPr/>
        </p:nvSpPr>
        <p:spPr>
          <a:xfrm>
            <a:off x="408577" y="109129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453A0B4-69B3-08C0-A132-B3C95FA090D6}"/>
              </a:ext>
            </a:extLst>
          </p:cNvPr>
          <p:cNvSpPr/>
          <p:nvPr/>
        </p:nvSpPr>
        <p:spPr>
          <a:xfrm>
            <a:off x="388620" y="109129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016A78-2A97-F623-36C5-66AFE5045067}"/>
              </a:ext>
            </a:extLst>
          </p:cNvPr>
          <p:cNvSpPr/>
          <p:nvPr/>
        </p:nvSpPr>
        <p:spPr>
          <a:xfrm>
            <a:off x="1173706" y="122317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r>
              <a:rPr lang="en-US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shion Accessori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89E14B-D062-EC6C-E7EB-EA0B000462EC}"/>
              </a:ext>
            </a:extLst>
          </p:cNvPr>
          <p:cNvGrpSpPr/>
          <p:nvPr/>
        </p:nvGrpSpPr>
        <p:grpSpPr>
          <a:xfrm>
            <a:off x="577656" y="1285153"/>
            <a:ext cx="313171" cy="287194"/>
            <a:chOff x="7005638" y="2909888"/>
            <a:chExt cx="344488" cy="315913"/>
          </a:xfrm>
        </p:grpSpPr>
        <p:sp>
          <p:nvSpPr>
            <p:cNvPr id="20" name="Oval 302">
              <a:extLst>
                <a:ext uri="{FF2B5EF4-FFF2-40B4-BE49-F238E27FC236}">
                  <a16:creationId xmlns:a16="http://schemas.microsoft.com/office/drawing/2014/main" id="{3D48AE9C-BAC2-4CF7-4FD6-997C098B6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3">
              <a:extLst>
                <a:ext uri="{FF2B5EF4-FFF2-40B4-BE49-F238E27FC236}">
                  <a16:creationId xmlns:a16="http://schemas.microsoft.com/office/drawing/2014/main" id="{7091917E-E97D-7B7A-2E93-93BF95179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Oval 304">
              <a:extLst>
                <a:ext uri="{FF2B5EF4-FFF2-40B4-BE49-F238E27FC236}">
                  <a16:creationId xmlns:a16="http://schemas.microsoft.com/office/drawing/2014/main" id="{5468F823-B3B2-D109-41CE-3A10BDD0F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305">
              <a:extLst>
                <a:ext uri="{FF2B5EF4-FFF2-40B4-BE49-F238E27FC236}">
                  <a16:creationId xmlns:a16="http://schemas.microsoft.com/office/drawing/2014/main" id="{4D963EF4-204A-236B-E193-433E3D098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306">
              <a:extLst>
                <a:ext uri="{FF2B5EF4-FFF2-40B4-BE49-F238E27FC236}">
                  <a16:creationId xmlns:a16="http://schemas.microsoft.com/office/drawing/2014/main" id="{55752FA1-4B66-B5DC-ECEE-D937127C3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7">
              <a:extLst>
                <a:ext uri="{FF2B5EF4-FFF2-40B4-BE49-F238E27FC236}">
                  <a16:creationId xmlns:a16="http://schemas.microsoft.com/office/drawing/2014/main" id="{D1C55791-0A30-BCE2-255B-E8F496D44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8">
              <a:extLst>
                <a:ext uri="{FF2B5EF4-FFF2-40B4-BE49-F238E27FC236}">
                  <a16:creationId xmlns:a16="http://schemas.microsoft.com/office/drawing/2014/main" id="{C9F2204A-3A92-0048-034B-13D940F95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AA5FB92-1201-7E5E-9165-A38654C507AE}"/>
              </a:ext>
            </a:extLst>
          </p:cNvPr>
          <p:cNvSpPr/>
          <p:nvPr/>
        </p:nvSpPr>
        <p:spPr>
          <a:xfrm>
            <a:off x="408577" y="2028553"/>
            <a:ext cx="3751943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od and Beverages</a:t>
            </a:r>
            <a:endParaRPr lang="en-US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FE34452-20EB-C404-614F-973BDB68EBEF}"/>
              </a:ext>
            </a:extLst>
          </p:cNvPr>
          <p:cNvSpPr/>
          <p:nvPr/>
        </p:nvSpPr>
        <p:spPr>
          <a:xfrm>
            <a:off x="388620" y="2028553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F63DB98-B52D-4755-8661-D11762ACF572}"/>
              </a:ext>
            </a:extLst>
          </p:cNvPr>
          <p:cNvSpPr/>
          <p:nvPr/>
        </p:nvSpPr>
        <p:spPr>
          <a:xfrm>
            <a:off x="1173706" y="2160431"/>
            <a:ext cx="2986814" cy="411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endParaRPr lang="en-US" sz="1600" dirty="0">
              <a:solidFill>
                <a:srgbClr val="232F3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17D15FC-016B-F6ED-426B-750D7E6E8079}"/>
              </a:ext>
            </a:extLst>
          </p:cNvPr>
          <p:cNvGrpSpPr/>
          <p:nvPr/>
        </p:nvGrpSpPr>
        <p:grpSpPr>
          <a:xfrm>
            <a:off x="577656" y="2222413"/>
            <a:ext cx="313171" cy="287194"/>
            <a:chOff x="7005638" y="2909888"/>
            <a:chExt cx="344488" cy="315913"/>
          </a:xfrm>
        </p:grpSpPr>
        <p:sp>
          <p:nvSpPr>
            <p:cNvPr id="33" name="Oval 302">
              <a:extLst>
                <a:ext uri="{FF2B5EF4-FFF2-40B4-BE49-F238E27FC236}">
                  <a16:creationId xmlns:a16="http://schemas.microsoft.com/office/drawing/2014/main" id="{AC78838C-5FB9-1FD2-0C6D-4320BFC77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3">
              <a:extLst>
                <a:ext uri="{FF2B5EF4-FFF2-40B4-BE49-F238E27FC236}">
                  <a16:creationId xmlns:a16="http://schemas.microsoft.com/office/drawing/2014/main" id="{5A1B6120-03FB-267C-3AEC-233C6031C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04">
              <a:extLst>
                <a:ext uri="{FF2B5EF4-FFF2-40B4-BE49-F238E27FC236}">
                  <a16:creationId xmlns:a16="http://schemas.microsoft.com/office/drawing/2014/main" id="{5CD80147-90D1-69E6-6A0C-767B504A4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05">
              <a:extLst>
                <a:ext uri="{FF2B5EF4-FFF2-40B4-BE49-F238E27FC236}">
                  <a16:creationId xmlns:a16="http://schemas.microsoft.com/office/drawing/2014/main" id="{7E35F0F2-2D03-319B-3EA1-E9CDA2696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6">
              <a:extLst>
                <a:ext uri="{FF2B5EF4-FFF2-40B4-BE49-F238E27FC236}">
                  <a16:creationId xmlns:a16="http://schemas.microsoft.com/office/drawing/2014/main" id="{28E8A7CA-BAEA-4DE8-B60B-866D4E94C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7">
              <a:extLst>
                <a:ext uri="{FF2B5EF4-FFF2-40B4-BE49-F238E27FC236}">
                  <a16:creationId xmlns:a16="http://schemas.microsoft.com/office/drawing/2014/main" id="{D4F8F8F5-AFBE-3492-C7A8-4334B9D5A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08">
              <a:extLst>
                <a:ext uri="{FF2B5EF4-FFF2-40B4-BE49-F238E27FC236}">
                  <a16:creationId xmlns:a16="http://schemas.microsoft.com/office/drawing/2014/main" id="{DB468639-DE1E-357C-EDCE-114C398C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0CCD53E-7DF1-42AC-F755-386F37AC0506}"/>
              </a:ext>
            </a:extLst>
          </p:cNvPr>
          <p:cNvGrpSpPr/>
          <p:nvPr/>
        </p:nvGrpSpPr>
        <p:grpSpPr>
          <a:xfrm>
            <a:off x="581466" y="3266353"/>
            <a:ext cx="313171" cy="287194"/>
            <a:chOff x="7005638" y="2909888"/>
            <a:chExt cx="344488" cy="315913"/>
          </a:xfrm>
        </p:grpSpPr>
        <p:sp>
          <p:nvSpPr>
            <p:cNvPr id="41" name="Oval 302">
              <a:extLst>
                <a:ext uri="{FF2B5EF4-FFF2-40B4-BE49-F238E27FC236}">
                  <a16:creationId xmlns:a16="http://schemas.microsoft.com/office/drawing/2014/main" id="{E198B5F4-371E-412A-0FFB-645FB57A4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2" name="Oval 303">
              <a:extLst>
                <a:ext uri="{FF2B5EF4-FFF2-40B4-BE49-F238E27FC236}">
                  <a16:creationId xmlns:a16="http://schemas.microsoft.com/office/drawing/2014/main" id="{C852AF19-B8D9-3B94-0A16-93FA23279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3" name="Oval 304">
              <a:extLst>
                <a:ext uri="{FF2B5EF4-FFF2-40B4-BE49-F238E27FC236}">
                  <a16:creationId xmlns:a16="http://schemas.microsoft.com/office/drawing/2014/main" id="{E03FB94A-2018-3B00-723C-5F8195A71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4" name="Freeform 305">
              <a:extLst>
                <a:ext uri="{FF2B5EF4-FFF2-40B4-BE49-F238E27FC236}">
                  <a16:creationId xmlns:a16="http://schemas.microsoft.com/office/drawing/2014/main" id="{1BFB1607-713A-3D68-550E-ACC81B1FA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5" name="Freeform 306">
              <a:extLst>
                <a:ext uri="{FF2B5EF4-FFF2-40B4-BE49-F238E27FC236}">
                  <a16:creationId xmlns:a16="http://schemas.microsoft.com/office/drawing/2014/main" id="{93B8D297-F363-8CD7-8E85-AD8B7A55F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6" name="Freeform 307">
              <a:extLst>
                <a:ext uri="{FF2B5EF4-FFF2-40B4-BE49-F238E27FC236}">
                  <a16:creationId xmlns:a16="http://schemas.microsoft.com/office/drawing/2014/main" id="{6280B056-2FC8-44FE-8F1B-571065D9F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  <p:sp>
          <p:nvSpPr>
            <p:cNvPr id="47" name="Freeform 308">
              <a:extLst>
                <a:ext uri="{FF2B5EF4-FFF2-40B4-BE49-F238E27FC236}">
                  <a16:creationId xmlns:a16="http://schemas.microsoft.com/office/drawing/2014/main" id="{2677B0D0-91A7-D4FF-488F-0F54290F3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b="1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6DFE6AC-39D6-B33A-E0CE-FA704829806C}"/>
              </a:ext>
            </a:extLst>
          </p:cNvPr>
          <p:cNvGrpSpPr/>
          <p:nvPr/>
        </p:nvGrpSpPr>
        <p:grpSpPr>
          <a:xfrm>
            <a:off x="592896" y="4340773"/>
            <a:ext cx="313171" cy="287194"/>
            <a:chOff x="7005638" y="2909888"/>
            <a:chExt cx="344488" cy="315913"/>
          </a:xfrm>
        </p:grpSpPr>
        <p:sp>
          <p:nvSpPr>
            <p:cNvPr id="49" name="Oval 302">
              <a:extLst>
                <a:ext uri="{FF2B5EF4-FFF2-40B4-BE49-F238E27FC236}">
                  <a16:creationId xmlns:a16="http://schemas.microsoft.com/office/drawing/2014/main" id="{53C5944D-805C-753D-8743-3AA59D204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3">
              <a:extLst>
                <a:ext uri="{FF2B5EF4-FFF2-40B4-BE49-F238E27FC236}">
                  <a16:creationId xmlns:a16="http://schemas.microsoft.com/office/drawing/2014/main" id="{EBA1A9D1-67E7-2849-C37D-7D4D2763C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304">
              <a:extLst>
                <a:ext uri="{FF2B5EF4-FFF2-40B4-BE49-F238E27FC236}">
                  <a16:creationId xmlns:a16="http://schemas.microsoft.com/office/drawing/2014/main" id="{012D6F80-36EB-BCD7-3AB8-9FA23073E9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05">
              <a:extLst>
                <a:ext uri="{FF2B5EF4-FFF2-40B4-BE49-F238E27FC236}">
                  <a16:creationId xmlns:a16="http://schemas.microsoft.com/office/drawing/2014/main" id="{8167859A-9067-2490-0CA5-46334E40D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06">
              <a:extLst>
                <a:ext uri="{FF2B5EF4-FFF2-40B4-BE49-F238E27FC236}">
                  <a16:creationId xmlns:a16="http://schemas.microsoft.com/office/drawing/2014/main" id="{D31D05B9-0483-109C-F4D0-A626B07EE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307">
              <a:extLst>
                <a:ext uri="{FF2B5EF4-FFF2-40B4-BE49-F238E27FC236}">
                  <a16:creationId xmlns:a16="http://schemas.microsoft.com/office/drawing/2014/main" id="{ACD73F73-D2B5-40CE-D1E8-1155F3AAD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308">
              <a:extLst>
                <a:ext uri="{FF2B5EF4-FFF2-40B4-BE49-F238E27FC236}">
                  <a16:creationId xmlns:a16="http://schemas.microsoft.com/office/drawing/2014/main" id="{89ED5BC5-C6F8-6A9C-52D8-2EB653046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280D3B5-245C-F939-AA40-87331681A42B}"/>
              </a:ext>
            </a:extLst>
          </p:cNvPr>
          <p:cNvCxnSpPr/>
          <p:nvPr/>
        </p:nvCxnSpPr>
        <p:spPr>
          <a:xfrm>
            <a:off x="3375660" y="603493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76232C2-6816-F900-1AE0-9D6DE0B33137}"/>
              </a:ext>
            </a:extLst>
          </p:cNvPr>
          <p:cNvCxnSpPr/>
          <p:nvPr/>
        </p:nvCxnSpPr>
        <p:spPr>
          <a:xfrm>
            <a:off x="3398520" y="1885846"/>
            <a:ext cx="79451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B1E21492-6528-1CFC-A49E-75027D52B8AF}"/>
              </a:ext>
            </a:extLst>
          </p:cNvPr>
          <p:cNvSpPr txBox="1"/>
          <p:nvPr/>
        </p:nvSpPr>
        <p:spPr>
          <a:xfrm>
            <a:off x="9738360" y="1223171"/>
            <a:ext cx="9189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7.03 </a:t>
            </a:r>
            <a:endParaRPr lang="en-IN" sz="2000" b="1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8BB0B97-4EDE-9A30-A3E8-57425E0533E1}"/>
              </a:ext>
            </a:extLst>
          </p:cNvPr>
          <p:cNvSpPr txBox="1"/>
          <p:nvPr/>
        </p:nvSpPr>
        <p:spPr>
          <a:xfrm>
            <a:off x="11292840" y="2222413"/>
            <a:ext cx="9189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</a:t>
            </a:r>
            <a:endParaRPr lang="en-IN" sz="2000" b="1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FE49E70-78BE-324A-C9CC-A3A3F752686A}"/>
              </a:ext>
            </a:extLst>
          </p:cNvPr>
          <p:cNvSpPr txBox="1"/>
          <p:nvPr/>
        </p:nvSpPr>
        <p:spPr>
          <a:xfrm>
            <a:off x="9578340" y="2186070"/>
            <a:ext cx="1163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</a:t>
            </a:r>
            <a:r>
              <a:rPr lang="en-US" sz="2000" b="1" dirty="0">
                <a:solidFill>
                  <a:srgbClr val="00B0F0"/>
                </a:solidFill>
              </a:rPr>
              <a:t>7.11</a:t>
            </a:r>
            <a:endParaRPr lang="en-IN" sz="2000" b="1" dirty="0">
              <a:solidFill>
                <a:srgbClr val="00B0F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B06454A-9650-0770-7DCF-D9F122B70468}"/>
              </a:ext>
            </a:extLst>
          </p:cNvPr>
          <p:cNvSpPr txBox="1"/>
          <p:nvPr/>
        </p:nvSpPr>
        <p:spPr>
          <a:xfrm>
            <a:off x="9578340" y="4263138"/>
            <a:ext cx="12458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6.91</a:t>
            </a:r>
            <a:endParaRPr lang="en-IN" sz="2000" b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2BA76C-7C7C-C112-7B56-D24CB092D840}"/>
              </a:ext>
            </a:extLst>
          </p:cNvPr>
          <p:cNvSpPr txBox="1"/>
          <p:nvPr/>
        </p:nvSpPr>
        <p:spPr>
          <a:xfrm>
            <a:off x="9534976" y="5353395"/>
            <a:ext cx="11597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</a:t>
            </a:r>
            <a:r>
              <a:rPr lang="en-US" sz="2000" b="1" dirty="0">
                <a:solidFill>
                  <a:srgbClr val="FF0000"/>
                </a:solidFill>
              </a:rPr>
              <a:t>6.83</a:t>
            </a:r>
            <a:endParaRPr lang="en-IN" sz="2000" b="1" dirty="0">
              <a:solidFill>
                <a:srgbClr val="FF0000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47E522E-2E4D-AEC7-28CE-1BECB95658F7}"/>
              </a:ext>
            </a:extLst>
          </p:cNvPr>
          <p:cNvSpPr txBox="1"/>
          <p:nvPr/>
        </p:nvSpPr>
        <p:spPr>
          <a:xfrm>
            <a:off x="9534976" y="6275231"/>
            <a:ext cx="11597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7.00</a:t>
            </a:r>
            <a:endParaRPr lang="en-IN" sz="2000" b="1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39A91F9-5BF0-EABB-8157-2737EE5AB908}"/>
              </a:ext>
            </a:extLst>
          </p:cNvPr>
          <p:cNvSpPr txBox="1"/>
          <p:nvPr/>
        </p:nvSpPr>
        <p:spPr>
          <a:xfrm>
            <a:off x="4726471" y="3209556"/>
            <a:ext cx="118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     </a:t>
            </a:r>
            <a:endParaRPr lang="en-IN" sz="2000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AF567FA-6B3C-E3BF-2F7B-1416843EE68B}"/>
              </a:ext>
            </a:extLst>
          </p:cNvPr>
          <p:cNvSpPr txBox="1"/>
          <p:nvPr/>
        </p:nvSpPr>
        <p:spPr>
          <a:xfrm>
            <a:off x="9462802" y="3235910"/>
            <a:ext cx="1366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       6.92 </a:t>
            </a:r>
            <a:endParaRPr lang="en-IN" sz="20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3153BB1-7DCA-4D26-9F1A-DC2318C87ABA}"/>
              </a:ext>
            </a:extLst>
          </p:cNvPr>
          <p:cNvSpPr txBox="1"/>
          <p:nvPr/>
        </p:nvSpPr>
        <p:spPr>
          <a:xfrm>
            <a:off x="6080760" y="122317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</a:rPr>
              <a:t>GOOD</a:t>
            </a:r>
            <a:endParaRPr lang="en-IN" sz="2400" b="1" dirty="0">
              <a:solidFill>
                <a:srgbClr val="00B05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C4E8FF9-FB59-B2BE-A9E6-4544FE8F4DDA}"/>
              </a:ext>
            </a:extLst>
          </p:cNvPr>
          <p:cNvSpPr txBox="1"/>
          <p:nvPr/>
        </p:nvSpPr>
        <p:spPr>
          <a:xfrm>
            <a:off x="6084570" y="225568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</a:rPr>
              <a:t>GOOD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1CA32D7-FD80-D4A0-1907-2DA455138D2B}"/>
              </a:ext>
            </a:extLst>
          </p:cNvPr>
          <p:cNvSpPr txBox="1"/>
          <p:nvPr/>
        </p:nvSpPr>
        <p:spPr>
          <a:xfrm>
            <a:off x="6096000" y="327295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</a:rPr>
              <a:t>GOOD</a:t>
            </a:r>
            <a:endParaRPr lang="en-IN" sz="2400" b="1" dirty="0">
              <a:solidFill>
                <a:srgbClr val="00B050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5702ED-EB95-B5C2-C986-F05AC3769827}"/>
              </a:ext>
            </a:extLst>
          </p:cNvPr>
          <p:cNvSpPr txBox="1"/>
          <p:nvPr/>
        </p:nvSpPr>
        <p:spPr>
          <a:xfrm>
            <a:off x="6096000" y="431308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</a:rPr>
              <a:t>GOOD</a:t>
            </a:r>
            <a:endParaRPr lang="en-IN" sz="2400" b="1" dirty="0">
              <a:solidFill>
                <a:srgbClr val="00B05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DA70AEA-0817-E21A-0D45-097A6DA5C423}"/>
              </a:ext>
            </a:extLst>
          </p:cNvPr>
          <p:cNvSpPr txBox="1"/>
          <p:nvPr/>
        </p:nvSpPr>
        <p:spPr>
          <a:xfrm>
            <a:off x="6107430" y="536464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</a:rPr>
              <a:t>GOOD</a:t>
            </a:r>
            <a:endParaRPr lang="en-IN" sz="2400" b="1" dirty="0">
              <a:solidFill>
                <a:srgbClr val="00B050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33CF9FD-6A26-8A1F-D49A-0C6B8BA8BF7E}"/>
              </a:ext>
            </a:extLst>
          </p:cNvPr>
          <p:cNvSpPr txBox="1"/>
          <p:nvPr/>
        </p:nvSpPr>
        <p:spPr>
          <a:xfrm>
            <a:off x="6233160" y="6313331"/>
            <a:ext cx="1588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BAD</a:t>
            </a:r>
            <a:endParaRPr lang="en-IN" sz="2400" b="1" dirty="0">
              <a:solidFill>
                <a:srgbClr val="FF0000"/>
              </a:solidFill>
            </a:endParaRPr>
          </a:p>
        </p:txBody>
      </p:sp>
      <p:sp>
        <p:nvSpPr>
          <p:cNvPr id="92" name="Rectangle: Top Corners Rounded 91">
            <a:extLst>
              <a:ext uri="{FF2B5EF4-FFF2-40B4-BE49-F238E27FC236}">
                <a16:creationId xmlns:a16="http://schemas.microsoft.com/office/drawing/2014/main" id="{662C233E-966D-95B2-E134-CCD8EEEE1E10}"/>
              </a:ext>
            </a:extLst>
          </p:cNvPr>
          <p:cNvSpPr/>
          <p:nvPr/>
        </p:nvSpPr>
        <p:spPr>
          <a:xfrm>
            <a:off x="388620" y="465835"/>
            <a:ext cx="4196042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Product Lin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5485CB7-97C5-86B1-8067-0E8AE408E46F}"/>
              </a:ext>
            </a:extLst>
          </p:cNvPr>
          <p:cNvSpPr txBox="1"/>
          <p:nvPr/>
        </p:nvSpPr>
        <p:spPr>
          <a:xfrm>
            <a:off x="2137410" y="-54590"/>
            <a:ext cx="8321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u="sng" dirty="0"/>
              <a:t>Product Status According To Average Sells &amp; Ratings-</a:t>
            </a:r>
            <a:endParaRPr lang="en-IN" sz="2800" b="1" u="sng" dirty="0"/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DAC7A220-03FD-61AA-3911-CBFB43303AF1}"/>
              </a:ext>
            </a:extLst>
          </p:cNvPr>
          <p:cNvCxnSpPr>
            <a:cxnSpLocks/>
          </p:cNvCxnSpPr>
          <p:nvPr/>
        </p:nvCxnSpPr>
        <p:spPr>
          <a:xfrm>
            <a:off x="8515966" y="800100"/>
            <a:ext cx="22860" cy="60502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: Top Corners Rounded 98">
            <a:extLst>
              <a:ext uri="{FF2B5EF4-FFF2-40B4-BE49-F238E27FC236}">
                <a16:creationId xmlns:a16="http://schemas.microsoft.com/office/drawing/2014/main" id="{E6C5E35B-064F-93A0-A25E-A3B65B417D16}"/>
              </a:ext>
            </a:extLst>
          </p:cNvPr>
          <p:cNvSpPr/>
          <p:nvPr/>
        </p:nvSpPr>
        <p:spPr>
          <a:xfrm>
            <a:off x="8550256" y="465835"/>
            <a:ext cx="3253124" cy="513336"/>
          </a:xfrm>
          <a:prstGeom prst="round2Same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Ratings</a:t>
            </a:r>
          </a:p>
        </p:txBody>
      </p:sp>
    </p:spTree>
    <p:extLst>
      <p:ext uri="{BB962C8B-B14F-4D97-AF65-F5344CB8AC3E}">
        <p14:creationId xmlns:p14="http://schemas.microsoft.com/office/powerpoint/2010/main" val="2437982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oman celebrating in caf�">
            <a:extLst>
              <a:ext uri="{FF2B5EF4-FFF2-40B4-BE49-F238E27FC236}">
                <a16:creationId xmlns:a16="http://schemas.microsoft.com/office/drawing/2014/main" id="{26776350-25AC-48A8-A296-095379F4F23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8" t="2184" r="47658"/>
          <a:stretch/>
        </p:blipFill>
        <p:spPr>
          <a:xfrm>
            <a:off x="0" y="0"/>
            <a:ext cx="39624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A22D448-BC9F-4DA2-91FC-1C5D2251878C}"/>
              </a:ext>
            </a:extLst>
          </p:cNvPr>
          <p:cNvSpPr/>
          <p:nvPr/>
        </p:nvSpPr>
        <p:spPr>
          <a:xfrm>
            <a:off x="1" y="-11806"/>
            <a:ext cx="3962400" cy="6869806"/>
          </a:xfrm>
          <a:prstGeom prst="rect">
            <a:avLst/>
          </a:prstGeom>
          <a:gradFill>
            <a:gsLst>
              <a:gs pos="0">
                <a:srgbClr val="000000">
                  <a:alpha val="53000"/>
                </a:srgbClr>
              </a:gs>
              <a:gs pos="50000">
                <a:srgbClr val="000000">
                  <a:alpha val="60000"/>
                </a:srgbClr>
              </a:gs>
              <a:gs pos="100000">
                <a:srgbClr val="232F3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8CF5DB6-A827-42BA-AEAD-9981A42A3AB2}"/>
              </a:ext>
            </a:extLst>
          </p:cNvPr>
          <p:cNvSpPr txBox="1">
            <a:spLocks/>
          </p:cNvSpPr>
          <p:nvPr/>
        </p:nvSpPr>
        <p:spPr>
          <a:xfrm>
            <a:off x="667657" y="2091224"/>
            <a:ext cx="2370817" cy="133777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4000" dirty="0">
                <a:solidFill>
                  <a:schemeClr val="bg1"/>
                </a:solidFill>
              </a:rPr>
              <a:t>Table of Contents</a:t>
            </a:r>
            <a:endParaRPr lang="en-ID" sz="4000" dirty="0">
              <a:solidFill>
                <a:schemeClr val="bg1"/>
              </a:solidFill>
            </a:endParaRP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DC79C307-A81D-4B1A-B42B-46ABAD955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5861" y="6074586"/>
            <a:ext cx="337513" cy="286205"/>
          </a:xfrm>
        </p:spPr>
        <p:txBody>
          <a:bodyPr/>
          <a:lstStyle/>
          <a:p>
            <a:pPr algn="ctr"/>
            <a:fld id="{9D6A4950-2E50-4A2B-B8A2-4ABC9E129430}" type="slidenum">
              <a:rPr lang="en-ID" sz="1050" smtClean="0">
                <a:solidFill>
                  <a:schemeClr val="bg1"/>
                </a:solidFill>
              </a:rPr>
              <a:pPr algn="ctr"/>
              <a:t>8</a:t>
            </a:fld>
            <a:endParaRPr lang="en-ID" sz="1050" dirty="0">
              <a:solidFill>
                <a:schemeClr val="bg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EA39CC8-CF52-4DA8-A267-FDAA8FF6436F}"/>
              </a:ext>
            </a:extLst>
          </p:cNvPr>
          <p:cNvGrpSpPr/>
          <p:nvPr/>
        </p:nvGrpSpPr>
        <p:grpSpPr>
          <a:xfrm>
            <a:off x="667658" y="1204985"/>
            <a:ext cx="602513" cy="625248"/>
            <a:chOff x="4870450" y="2890838"/>
            <a:chExt cx="336551" cy="349250"/>
          </a:xfrm>
          <a:noFill/>
        </p:grpSpPr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A20C0A25-F553-416F-BD8A-D507BC5CE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450" y="2890838"/>
              <a:ext cx="239713" cy="319088"/>
            </a:xfrm>
            <a:custGeom>
              <a:avLst/>
              <a:gdLst>
                <a:gd name="T0" fmla="*/ 64 w 64"/>
                <a:gd name="T1" fmla="*/ 84 h 84"/>
                <a:gd name="T2" fmla="*/ 6 w 64"/>
                <a:gd name="T3" fmla="*/ 84 h 84"/>
                <a:gd name="T4" fmla="*/ 0 w 64"/>
                <a:gd name="T5" fmla="*/ 78 h 84"/>
                <a:gd name="T6" fmla="*/ 0 w 64"/>
                <a:gd name="T7" fmla="*/ 6 h 84"/>
                <a:gd name="T8" fmla="*/ 6 w 64"/>
                <a:gd name="T9" fmla="*/ 0 h 84"/>
                <a:gd name="T10" fmla="*/ 58 w 64"/>
                <a:gd name="T11" fmla="*/ 0 h 84"/>
                <a:gd name="T12" fmla="*/ 64 w 64"/>
                <a:gd name="T13" fmla="*/ 6 h 84"/>
                <a:gd name="T14" fmla="*/ 64 w 64"/>
                <a:gd name="T15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4">
                  <a:moveTo>
                    <a:pt x="6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3"/>
                    <a:pt x="64" y="6"/>
                  </a:cubicBezTo>
                  <a:cubicBezTo>
                    <a:pt x="64" y="60"/>
                    <a:pt x="64" y="60"/>
                    <a:pt x="64" y="60"/>
                  </a:cubicBezTo>
                </a:path>
              </a:pathLst>
            </a:cu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164CAE5B-2CAB-44B6-A3CE-66CB100FE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025" y="2921000"/>
              <a:ext cx="188913" cy="227013"/>
            </a:xfrm>
            <a:custGeom>
              <a:avLst/>
              <a:gdLst>
                <a:gd name="T0" fmla="*/ 119 w 119"/>
                <a:gd name="T1" fmla="*/ 143 h 143"/>
                <a:gd name="T2" fmla="*/ 0 w 119"/>
                <a:gd name="T3" fmla="*/ 143 h 143"/>
                <a:gd name="T4" fmla="*/ 0 w 119"/>
                <a:gd name="T5" fmla="*/ 0 h 143"/>
                <a:gd name="T6" fmla="*/ 114 w 119"/>
                <a:gd name="T7" fmla="*/ 0 h 143"/>
                <a:gd name="T8" fmla="*/ 114 w 119"/>
                <a:gd name="T9" fmla="*/ 11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43">
                  <a:moveTo>
                    <a:pt x="119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10"/>
                  </a:lnTo>
                </a:path>
              </a:pathLst>
            </a:custGeom>
            <a:grpFill/>
            <a:ln w="14288" cap="rnd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A06C2A14-EE81-40F0-99F8-9E30481C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163" y="3035300"/>
              <a:ext cx="96838" cy="204788"/>
            </a:xfrm>
            <a:custGeom>
              <a:avLst/>
              <a:gdLst>
                <a:gd name="T0" fmla="*/ 26 w 26"/>
                <a:gd name="T1" fmla="*/ 54 h 54"/>
                <a:gd name="T2" fmla="*/ 14 w 26"/>
                <a:gd name="T3" fmla="*/ 38 h 54"/>
                <a:gd name="T4" fmla="*/ 14 w 26"/>
                <a:gd name="T5" fmla="*/ 20 h 54"/>
                <a:gd name="T6" fmla="*/ 0 w 26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3"/>
                    <a:pt x="8" y="7"/>
                    <a:pt x="0" y="0"/>
                  </a:cubicBezTo>
                </a:path>
              </a:pathLst>
            </a:custGeom>
            <a:grpFill/>
            <a:ln w="14288" cap="rnd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B21B1F2E-6307-403A-9D20-A7C8FA733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90863"/>
              <a:ext cx="71438" cy="149225"/>
            </a:xfrm>
            <a:custGeom>
              <a:avLst/>
              <a:gdLst>
                <a:gd name="T0" fmla="*/ 17 w 19"/>
                <a:gd name="T1" fmla="*/ 11 h 39"/>
                <a:gd name="T2" fmla="*/ 8 w 19"/>
                <a:gd name="T3" fmla="*/ 2 h 39"/>
                <a:gd name="T4" fmla="*/ 2 w 19"/>
                <a:gd name="T5" fmla="*/ 2 h 39"/>
                <a:gd name="T6" fmla="*/ 2 w 19"/>
                <a:gd name="T7" fmla="*/ 8 h 39"/>
                <a:gd name="T8" fmla="*/ 11 w 19"/>
                <a:gd name="T9" fmla="*/ 21 h 39"/>
                <a:gd name="T10" fmla="*/ 11 w 19"/>
                <a:gd name="T11" fmla="*/ 25 h 39"/>
                <a:gd name="T12" fmla="*/ 19 w 1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9">
                  <a:moveTo>
                    <a:pt x="17" y="11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0" y="4"/>
                    <a:pt x="1" y="7"/>
                    <a:pt x="2" y="8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5"/>
                  </a:cubicBezTo>
                  <a:cubicBezTo>
                    <a:pt x="11" y="29"/>
                    <a:pt x="19" y="39"/>
                    <a:pt x="19" y="39"/>
                  </a:cubicBezTo>
                </a:path>
              </a:pathLst>
            </a:custGeom>
            <a:grpFill/>
            <a:ln w="14288" cap="rnd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Line 14">
              <a:extLst>
                <a:ext uri="{FF2B5EF4-FFF2-40B4-BE49-F238E27FC236}">
                  <a16:creationId xmlns:a16="http://schemas.microsoft.com/office/drawing/2014/main" id="{AEA4A76F-9AAA-40E5-B50C-76132F476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0" y="3178175"/>
              <a:ext cx="58738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15">
              <a:extLst>
                <a:ext uri="{FF2B5EF4-FFF2-40B4-BE49-F238E27FC236}">
                  <a16:creationId xmlns:a16="http://schemas.microsoft.com/office/drawing/2014/main" id="{D7254183-A7A8-401D-BF11-402EF5BCB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2838" y="3171825"/>
              <a:ext cx="14288" cy="14288"/>
            </a:xfrm>
            <a:prstGeom prst="ellipse">
              <a:avLst/>
            </a:prstGeom>
            <a:grpFill/>
            <a:ln w="9525">
              <a:solidFill>
                <a:srgbClr val="FE99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16">
              <a:extLst>
                <a:ext uri="{FF2B5EF4-FFF2-40B4-BE49-F238E27FC236}">
                  <a16:creationId xmlns:a16="http://schemas.microsoft.com/office/drawing/2014/main" id="{2DCAECC7-CE0B-4836-B838-7801E6014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7613" y="3171825"/>
              <a:ext cx="14288" cy="14288"/>
            </a:xfrm>
            <a:prstGeom prst="ellipse">
              <a:avLst/>
            </a:prstGeom>
            <a:grpFill/>
            <a:ln w="9525">
              <a:solidFill>
                <a:srgbClr val="FE99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3EC5E28E-7243-43C6-8CF8-B9F6E6D532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7125" y="3087688"/>
              <a:ext cx="104775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18">
              <a:extLst>
                <a:ext uri="{FF2B5EF4-FFF2-40B4-BE49-F238E27FC236}">
                  <a16:creationId xmlns:a16="http://schemas.microsoft.com/office/drawing/2014/main" id="{22345308-8E81-43E6-94E3-EE0CA83613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7125" y="3057525"/>
              <a:ext cx="104775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19">
              <a:extLst>
                <a:ext uri="{FF2B5EF4-FFF2-40B4-BE49-F238E27FC236}">
                  <a16:creationId xmlns:a16="http://schemas.microsoft.com/office/drawing/2014/main" id="{8570445A-8BA9-46FF-801B-285BFD1182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7125" y="3027363"/>
              <a:ext cx="104775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20">
              <a:extLst>
                <a:ext uri="{FF2B5EF4-FFF2-40B4-BE49-F238E27FC236}">
                  <a16:creationId xmlns:a16="http://schemas.microsoft.com/office/drawing/2014/main" id="{00EB17EC-8D45-4F9E-83E8-4CA002D07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7125" y="2997200"/>
              <a:ext cx="104775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21">
              <a:extLst>
                <a:ext uri="{FF2B5EF4-FFF2-40B4-BE49-F238E27FC236}">
                  <a16:creationId xmlns:a16="http://schemas.microsoft.com/office/drawing/2014/main" id="{0AEA3EB2-9AAE-4CB3-8EBD-B64B1D9E89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7125" y="2967038"/>
              <a:ext cx="60325" cy="0"/>
            </a:xfrm>
            <a:prstGeom prst="line">
              <a:avLst/>
            </a:prstGeom>
            <a:grpFill/>
            <a:ln w="14288" cap="flat">
              <a:solidFill>
                <a:srgbClr val="FE99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EC1482-319D-4222-B802-89EE984DE515}"/>
              </a:ext>
            </a:extLst>
          </p:cNvPr>
          <p:cNvGrpSpPr/>
          <p:nvPr/>
        </p:nvGrpSpPr>
        <p:grpSpPr>
          <a:xfrm>
            <a:off x="3292928" y="288229"/>
            <a:ext cx="8262258" cy="674914"/>
            <a:chOff x="3292928" y="914157"/>
            <a:chExt cx="8262258" cy="674914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E75F133-4E3E-4C39-AA3A-96B994D5D7C1}"/>
                </a:ext>
              </a:extLst>
            </p:cNvPr>
            <p:cNvSpPr/>
            <p:nvPr/>
          </p:nvSpPr>
          <p:spPr>
            <a:xfrm>
              <a:off x="3292928" y="914157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33C1F795-3A76-4F6F-828D-F2FE618A2803}"/>
                </a:ext>
              </a:extLst>
            </p:cNvPr>
            <p:cNvSpPr/>
            <p:nvPr/>
          </p:nvSpPr>
          <p:spPr>
            <a:xfrm>
              <a:off x="10863944" y="914157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F64F1F1-2C1D-4671-BDC7-47F4091CD207}"/>
                </a:ext>
              </a:extLst>
            </p:cNvPr>
            <p:cNvSpPr/>
            <p:nvPr/>
          </p:nvSpPr>
          <p:spPr>
            <a:xfrm>
              <a:off x="3637643" y="1014288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ustomers are mostly paying trough </a:t>
              </a:r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-wallet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nd </a:t>
              </a:r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sh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F0F46A53-4786-4D4C-A5EE-C26957D3087E}"/>
                </a:ext>
              </a:extLst>
            </p:cNvPr>
            <p:cNvGrpSpPr/>
            <p:nvPr/>
          </p:nvGrpSpPr>
          <p:grpSpPr>
            <a:xfrm>
              <a:off x="11044465" y="1077783"/>
              <a:ext cx="330201" cy="347663"/>
              <a:chOff x="4870450" y="3619500"/>
              <a:chExt cx="330201" cy="347663"/>
            </a:xfrm>
          </p:grpSpPr>
          <p:sp>
            <p:nvSpPr>
              <p:cNvPr id="53" name="Freeform 113">
                <a:extLst>
                  <a:ext uri="{FF2B5EF4-FFF2-40B4-BE49-F238E27FC236}">
                    <a16:creationId xmlns:a16="http://schemas.microsoft.com/office/drawing/2014/main" id="{E878EEC8-B32C-4FC6-919E-1F99C010F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5063" y="3694113"/>
                <a:ext cx="255588" cy="242888"/>
              </a:xfrm>
              <a:custGeom>
                <a:avLst/>
                <a:gdLst>
                  <a:gd name="T0" fmla="*/ 68 w 68"/>
                  <a:gd name="T1" fmla="*/ 38 h 64"/>
                  <a:gd name="T2" fmla="*/ 68 w 68"/>
                  <a:gd name="T3" fmla="*/ 7 h 64"/>
                  <a:gd name="T4" fmla="*/ 61 w 68"/>
                  <a:gd name="T5" fmla="*/ 0 h 64"/>
                  <a:gd name="T6" fmla="*/ 7 w 68"/>
                  <a:gd name="T7" fmla="*/ 0 h 64"/>
                  <a:gd name="T8" fmla="*/ 0 w 68"/>
                  <a:gd name="T9" fmla="*/ 7 h 64"/>
                  <a:gd name="T10" fmla="*/ 0 w 68"/>
                  <a:gd name="T11" fmla="*/ 57 h 64"/>
                  <a:gd name="T12" fmla="*/ 7 w 68"/>
                  <a:gd name="T13" fmla="*/ 64 h 64"/>
                  <a:gd name="T14" fmla="*/ 22 w 68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64">
                    <a:moveTo>
                      <a:pt x="68" y="38"/>
                    </a:moveTo>
                    <a:cubicBezTo>
                      <a:pt x="68" y="7"/>
                      <a:pt x="68" y="7"/>
                      <a:pt x="68" y="7"/>
                    </a:cubicBezTo>
                    <a:cubicBezTo>
                      <a:pt x="68" y="3"/>
                      <a:pt x="65" y="0"/>
                      <a:pt x="6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22" y="64"/>
                      <a:pt x="22" y="64"/>
                      <a:pt x="22" y="64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4" name="Freeform 114">
                <a:extLst>
                  <a:ext uri="{FF2B5EF4-FFF2-40B4-BE49-F238E27FC236}">
                    <a16:creationId xmlns:a16="http://schemas.microsoft.com/office/drawing/2014/main" id="{16746591-00F4-424E-B7E8-7A2460B95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7613" y="3770313"/>
                <a:ext cx="173038" cy="196850"/>
              </a:xfrm>
              <a:custGeom>
                <a:avLst/>
                <a:gdLst>
                  <a:gd name="T0" fmla="*/ 18 w 46"/>
                  <a:gd name="T1" fmla="*/ 4 h 52"/>
                  <a:gd name="T2" fmla="*/ 22 w 46"/>
                  <a:gd name="T3" fmla="*/ 0 h 52"/>
                  <a:gd name="T4" fmla="*/ 26 w 46"/>
                  <a:gd name="T5" fmla="*/ 4 h 52"/>
                  <a:gd name="T6" fmla="*/ 26 w 46"/>
                  <a:gd name="T7" fmla="*/ 23 h 52"/>
                  <a:gd name="T8" fmla="*/ 42 w 46"/>
                  <a:gd name="T9" fmla="*/ 28 h 52"/>
                  <a:gd name="T10" fmla="*/ 45 w 46"/>
                  <a:gd name="T11" fmla="*/ 34 h 52"/>
                  <a:gd name="T12" fmla="*/ 45 w 46"/>
                  <a:gd name="T13" fmla="*/ 35 h 52"/>
                  <a:gd name="T14" fmla="*/ 42 w 46"/>
                  <a:gd name="T15" fmla="*/ 52 h 52"/>
                  <a:gd name="T16" fmla="*/ 18 w 46"/>
                  <a:gd name="T17" fmla="*/ 52 h 52"/>
                  <a:gd name="T18" fmla="*/ 5 w 46"/>
                  <a:gd name="T19" fmla="*/ 34 h 52"/>
                  <a:gd name="T20" fmla="*/ 18 w 46"/>
                  <a:gd name="T21" fmla="*/ 36 h 52"/>
                  <a:gd name="T22" fmla="*/ 18 w 46"/>
                  <a:gd name="T23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2">
                    <a:moveTo>
                      <a:pt x="18" y="4"/>
                    </a:moveTo>
                    <a:cubicBezTo>
                      <a:pt x="18" y="2"/>
                      <a:pt x="20" y="0"/>
                      <a:pt x="22" y="0"/>
                    </a:cubicBezTo>
                    <a:cubicBezTo>
                      <a:pt x="24" y="0"/>
                      <a:pt x="26" y="2"/>
                      <a:pt x="26" y="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44" y="28"/>
                      <a:pt x="46" y="31"/>
                      <a:pt x="45" y="34"/>
                    </a:cubicBezTo>
                    <a:cubicBezTo>
                      <a:pt x="45" y="35"/>
                      <a:pt x="45" y="35"/>
                      <a:pt x="45" y="35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0" y="26"/>
                      <a:pt x="12" y="24"/>
                      <a:pt x="18" y="36"/>
                    </a:cubicBezTo>
                    <a:lnTo>
                      <a:pt x="18" y="4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Line 115">
                <a:extLst>
                  <a:ext uri="{FF2B5EF4-FFF2-40B4-BE49-F238E27FC236}">
                    <a16:creationId xmlns:a16="http://schemas.microsoft.com/office/drawing/2014/main" id="{6123413E-DFD0-4A3C-8BB4-614BD57962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45063" y="3740150"/>
                <a:ext cx="255588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Freeform 116">
                <a:extLst>
                  <a:ext uri="{FF2B5EF4-FFF2-40B4-BE49-F238E27FC236}">
                    <a16:creationId xmlns:a16="http://schemas.microsoft.com/office/drawing/2014/main" id="{16505C05-F86E-4215-A34B-84551F10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6963" y="3656013"/>
                <a:ext cx="46038" cy="46038"/>
              </a:xfrm>
              <a:custGeom>
                <a:avLst/>
                <a:gdLst>
                  <a:gd name="T0" fmla="*/ 0 w 12"/>
                  <a:gd name="T1" fmla="*/ 12 h 12"/>
                  <a:gd name="T2" fmla="*/ 12 w 12"/>
                  <a:gd name="T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" h="12">
                    <a:moveTo>
                      <a:pt x="0" y="12"/>
                    </a:moveTo>
                    <a:cubicBezTo>
                      <a:pt x="0" y="5"/>
                      <a:pt x="5" y="0"/>
                      <a:pt x="12" y="0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Freeform 117">
                <a:extLst>
                  <a:ext uri="{FF2B5EF4-FFF2-40B4-BE49-F238E27FC236}">
                    <a16:creationId xmlns:a16="http://schemas.microsoft.com/office/drawing/2014/main" id="{19CD3204-C706-43A1-8B33-A76C003EF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0450" y="3619500"/>
                <a:ext cx="82550" cy="82550"/>
              </a:xfrm>
              <a:custGeom>
                <a:avLst/>
                <a:gdLst>
                  <a:gd name="T0" fmla="*/ 0 w 22"/>
                  <a:gd name="T1" fmla="*/ 22 h 22"/>
                  <a:gd name="T2" fmla="*/ 22 w 22"/>
                  <a:gd name="T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" h="22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6EA246-91A2-4FA4-AC9D-D558F2313063}"/>
              </a:ext>
            </a:extLst>
          </p:cNvPr>
          <p:cNvGrpSpPr/>
          <p:nvPr/>
        </p:nvGrpSpPr>
        <p:grpSpPr>
          <a:xfrm>
            <a:off x="3292928" y="1226653"/>
            <a:ext cx="8262258" cy="674914"/>
            <a:chOff x="3292928" y="2524159"/>
            <a:chExt cx="8262258" cy="674914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EF7347C2-C72D-4CF0-93EA-C804BA1AB90B}"/>
                </a:ext>
              </a:extLst>
            </p:cNvPr>
            <p:cNvSpPr/>
            <p:nvPr/>
          </p:nvSpPr>
          <p:spPr>
            <a:xfrm>
              <a:off x="3292928" y="2524159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8F5A682-0194-48CF-9A62-3AA169D572C1}"/>
                </a:ext>
              </a:extLst>
            </p:cNvPr>
            <p:cNvSpPr/>
            <p:nvPr/>
          </p:nvSpPr>
          <p:spPr>
            <a:xfrm>
              <a:off x="10863944" y="2524159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882107D-F139-439C-8637-161A094CAD13}"/>
                </a:ext>
              </a:extLst>
            </p:cNvPr>
            <p:cNvSpPr/>
            <p:nvPr/>
          </p:nvSpPr>
          <p:spPr>
            <a:xfrm>
              <a:off x="3637643" y="2624290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bers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re the most frequent customers, generating most revenue and VAT. 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2B2F800-280D-4380-9FF2-9E4567CA0252}"/>
                </a:ext>
              </a:extLst>
            </p:cNvPr>
            <p:cNvGrpSpPr/>
            <p:nvPr/>
          </p:nvGrpSpPr>
          <p:grpSpPr>
            <a:xfrm>
              <a:off x="11037322" y="2688579"/>
              <a:ext cx="344487" cy="346075"/>
              <a:chOff x="6296026" y="2171701"/>
              <a:chExt cx="344487" cy="346075"/>
            </a:xfrm>
          </p:grpSpPr>
          <p:sp>
            <p:nvSpPr>
              <p:cNvPr id="59" name="Freeform 5">
                <a:extLst>
                  <a:ext uri="{FF2B5EF4-FFF2-40B4-BE49-F238E27FC236}">
                    <a16:creationId xmlns:a16="http://schemas.microsoft.com/office/drawing/2014/main" id="{AFAFDE15-CF9A-4A4C-96A7-188A41339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232026"/>
                <a:ext cx="165100" cy="285750"/>
              </a:xfrm>
              <a:custGeom>
                <a:avLst/>
                <a:gdLst>
                  <a:gd name="T0" fmla="*/ 44 w 44"/>
                  <a:gd name="T1" fmla="*/ 40 h 76"/>
                  <a:gd name="T2" fmla="*/ 44 w 44"/>
                  <a:gd name="T3" fmla="*/ 68 h 76"/>
                  <a:gd name="T4" fmla="*/ 36 w 44"/>
                  <a:gd name="T5" fmla="*/ 76 h 76"/>
                  <a:gd name="T6" fmla="*/ 8 w 44"/>
                  <a:gd name="T7" fmla="*/ 76 h 76"/>
                  <a:gd name="T8" fmla="*/ 0 w 44"/>
                  <a:gd name="T9" fmla="*/ 68 h 76"/>
                  <a:gd name="T10" fmla="*/ 0 w 44"/>
                  <a:gd name="T11" fmla="*/ 8 h 76"/>
                  <a:gd name="T12" fmla="*/ 8 w 44"/>
                  <a:gd name="T13" fmla="*/ 0 h 76"/>
                  <a:gd name="T14" fmla="*/ 20 w 44"/>
                  <a:gd name="T1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76">
                    <a:moveTo>
                      <a:pt x="44" y="40"/>
                    </a:moveTo>
                    <a:cubicBezTo>
                      <a:pt x="44" y="68"/>
                      <a:pt x="44" y="68"/>
                      <a:pt x="44" y="68"/>
                    </a:cubicBezTo>
                    <a:cubicBezTo>
                      <a:pt x="44" y="72"/>
                      <a:pt x="40" y="76"/>
                      <a:pt x="36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Line 6">
                <a:extLst>
                  <a:ext uri="{FF2B5EF4-FFF2-40B4-BE49-F238E27FC236}">
                    <a16:creationId xmlns:a16="http://schemas.microsoft.com/office/drawing/2014/main" id="{EADE82D8-CEED-42C7-B283-EABFFC3DAE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96026" y="2292351"/>
                <a:ext cx="74613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Line 7">
                <a:extLst>
                  <a:ext uri="{FF2B5EF4-FFF2-40B4-BE49-F238E27FC236}">
                    <a16:creationId xmlns:a16="http://schemas.microsoft.com/office/drawing/2014/main" id="{5744405E-1331-4827-B526-4C30570FC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96026" y="2457451"/>
                <a:ext cx="165100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Line 8">
                <a:extLst>
                  <a:ext uri="{FF2B5EF4-FFF2-40B4-BE49-F238E27FC236}">
                    <a16:creationId xmlns:a16="http://schemas.microsoft.com/office/drawing/2014/main" id="{3C9871DA-4FE4-4CFB-AA8E-CFCB12D119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4763" y="2262189"/>
                <a:ext cx="1587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9">
                <a:extLst>
                  <a:ext uri="{FF2B5EF4-FFF2-40B4-BE49-F238E27FC236}">
                    <a16:creationId xmlns:a16="http://schemas.microsoft.com/office/drawing/2014/main" id="{6C943E43-624B-428C-8594-2E94E339B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5088" y="2171701"/>
                <a:ext cx="225425" cy="180975"/>
              </a:xfrm>
              <a:custGeom>
                <a:avLst/>
                <a:gdLst>
                  <a:gd name="T0" fmla="*/ 60 w 60"/>
                  <a:gd name="T1" fmla="*/ 30 h 48"/>
                  <a:gd name="T2" fmla="*/ 54 w 60"/>
                  <a:gd name="T3" fmla="*/ 36 h 48"/>
                  <a:gd name="T4" fmla="*/ 32 w 60"/>
                  <a:gd name="T5" fmla="*/ 36 h 48"/>
                  <a:gd name="T6" fmla="*/ 20 w 60"/>
                  <a:gd name="T7" fmla="*/ 48 h 48"/>
                  <a:gd name="T8" fmla="*/ 20 w 60"/>
                  <a:gd name="T9" fmla="*/ 36 h 48"/>
                  <a:gd name="T10" fmla="*/ 6 w 60"/>
                  <a:gd name="T11" fmla="*/ 36 h 48"/>
                  <a:gd name="T12" fmla="*/ 0 w 60"/>
                  <a:gd name="T13" fmla="*/ 30 h 48"/>
                  <a:gd name="T14" fmla="*/ 0 w 60"/>
                  <a:gd name="T15" fmla="*/ 6 h 48"/>
                  <a:gd name="T16" fmla="*/ 6 w 60"/>
                  <a:gd name="T17" fmla="*/ 0 h 48"/>
                  <a:gd name="T18" fmla="*/ 54 w 60"/>
                  <a:gd name="T19" fmla="*/ 0 h 48"/>
                  <a:gd name="T20" fmla="*/ 60 w 60"/>
                  <a:gd name="T21" fmla="*/ 6 h 48"/>
                  <a:gd name="T22" fmla="*/ 60 w 60"/>
                  <a:gd name="T23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48">
                    <a:moveTo>
                      <a:pt x="60" y="30"/>
                    </a:moveTo>
                    <a:cubicBezTo>
                      <a:pt x="60" y="33"/>
                      <a:pt x="57" y="36"/>
                      <a:pt x="54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3" y="36"/>
                      <a:pt x="0" y="33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lnTo>
                      <a:pt x="60" y="30"/>
                    </a:ln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Oval 10">
                <a:extLst>
                  <a:ext uri="{FF2B5EF4-FFF2-40B4-BE49-F238E27FC236}">
                    <a16:creationId xmlns:a16="http://schemas.microsoft.com/office/drawing/2014/main" id="{6EA541FE-30C3-4615-B359-82F2CF2D06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27801" y="2224089"/>
                <a:ext cx="15875" cy="15875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5" name="Oval 11">
                <a:extLst>
                  <a:ext uri="{FF2B5EF4-FFF2-40B4-BE49-F238E27FC236}">
                    <a16:creationId xmlns:a16="http://schemas.microsoft.com/office/drawing/2014/main" id="{F22CA070-FE78-4FE8-A0EC-097A51AE1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73838" y="2224089"/>
                <a:ext cx="14288" cy="15875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6" name="Oval 12">
                <a:extLst>
                  <a:ext uri="{FF2B5EF4-FFF2-40B4-BE49-F238E27FC236}">
                    <a16:creationId xmlns:a16="http://schemas.microsoft.com/office/drawing/2014/main" id="{4C8B3990-D8C1-43BA-B3A5-D118D27FBD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83351" y="2224089"/>
                <a:ext cx="14288" cy="15875"/>
              </a:xfrm>
              <a:prstGeom prst="ellipse">
                <a:avLst/>
              </a:prstGeom>
              <a:solidFill>
                <a:srgbClr val="0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7" name="Freeform 13">
                <a:extLst>
                  <a:ext uri="{FF2B5EF4-FFF2-40B4-BE49-F238E27FC236}">
                    <a16:creationId xmlns:a16="http://schemas.microsoft.com/office/drawing/2014/main" id="{6DE6796D-6EDD-4DD8-A8EB-B9EE8AEF4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638" y="2479676"/>
                <a:ext cx="14288" cy="15875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2 w 4"/>
                  <a:gd name="T5" fmla="*/ 4 h 4"/>
                  <a:gd name="T6" fmla="*/ 0 w 4"/>
                  <a:gd name="T7" fmla="*/ 2 h 4"/>
                  <a:gd name="T8" fmla="*/ 0 w 4"/>
                  <a:gd name="T9" fmla="*/ 2 h 4"/>
                  <a:gd name="T10" fmla="*/ 2 w 4"/>
                  <a:gd name="T11" fmla="*/ 0 h 4"/>
                  <a:gd name="T12" fmla="*/ 2 w 4"/>
                  <a:gd name="T13" fmla="*/ 0 h 4"/>
                  <a:gd name="T14" fmla="*/ 4 w 4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cubicBezTo>
                      <a:pt x="4" y="3"/>
                      <a:pt x="3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8A8891-C7E8-4EC4-9941-9005A9E892FF}"/>
              </a:ext>
            </a:extLst>
          </p:cNvPr>
          <p:cNvGrpSpPr/>
          <p:nvPr/>
        </p:nvGrpSpPr>
        <p:grpSpPr>
          <a:xfrm>
            <a:off x="3338648" y="2165077"/>
            <a:ext cx="8262258" cy="674914"/>
            <a:chOff x="3338648" y="3445759"/>
            <a:chExt cx="8262258" cy="674914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64FBCE27-96AD-47C7-9613-C8CFCC9C3F7F}"/>
                </a:ext>
              </a:extLst>
            </p:cNvPr>
            <p:cNvSpPr/>
            <p:nvPr/>
          </p:nvSpPr>
          <p:spPr>
            <a:xfrm>
              <a:off x="3338648" y="3445759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8178E1A-597F-4F83-88BC-DDE72CCA1052}"/>
                </a:ext>
              </a:extLst>
            </p:cNvPr>
            <p:cNvSpPr/>
            <p:nvPr/>
          </p:nvSpPr>
          <p:spPr>
            <a:xfrm>
              <a:off x="10863944" y="3445759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1250C23-7516-4DE6-9662-72325CA1AED5}"/>
                </a:ext>
              </a:extLst>
            </p:cNvPr>
            <p:cNvSpPr/>
            <p:nvPr/>
          </p:nvSpPr>
          <p:spPr>
            <a:xfrm>
              <a:off x="3637643" y="3545890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males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re the predominant customers, buying mostly </a:t>
              </a:r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shion Accessories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5E8EFA9-3E18-41F1-89EB-C5015EFBC484}"/>
                </a:ext>
              </a:extLst>
            </p:cNvPr>
            <p:cNvGrpSpPr/>
            <p:nvPr/>
          </p:nvGrpSpPr>
          <p:grpSpPr>
            <a:xfrm>
              <a:off x="11037321" y="3640341"/>
              <a:ext cx="344488" cy="285750"/>
              <a:chOff x="8459788" y="2201864"/>
              <a:chExt cx="344488" cy="285750"/>
            </a:xfrm>
          </p:grpSpPr>
          <p:sp>
            <p:nvSpPr>
              <p:cNvPr id="69" name="Freeform 115">
                <a:extLst>
                  <a:ext uri="{FF2B5EF4-FFF2-40B4-BE49-F238E27FC236}">
                    <a16:creationId xmlns:a16="http://schemas.microsoft.com/office/drawing/2014/main" id="{2996286F-4347-416A-BEF1-1E45F1499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788" y="2443164"/>
                <a:ext cx="44450" cy="44450"/>
              </a:xfrm>
              <a:custGeom>
                <a:avLst/>
                <a:gdLst>
                  <a:gd name="T0" fmla="*/ 0 w 28"/>
                  <a:gd name="T1" fmla="*/ 0 h 28"/>
                  <a:gd name="T2" fmla="*/ 0 w 28"/>
                  <a:gd name="T3" fmla="*/ 28 h 28"/>
                  <a:gd name="T4" fmla="*/ 28 w 28"/>
                  <a:gd name="T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8">
                    <a:moveTo>
                      <a:pt x="0" y="0"/>
                    </a:moveTo>
                    <a:lnTo>
                      <a:pt x="0" y="28"/>
                    </a:lnTo>
                    <a:lnTo>
                      <a:pt x="28" y="2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0" name="Freeform 116">
                <a:extLst>
                  <a:ext uri="{FF2B5EF4-FFF2-40B4-BE49-F238E27FC236}">
                    <a16:creationId xmlns:a16="http://schemas.microsoft.com/office/drawing/2014/main" id="{929852C3-B6E8-4083-9B5D-A9FAC155B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788" y="2201864"/>
                <a:ext cx="44450" cy="44450"/>
              </a:xfrm>
              <a:custGeom>
                <a:avLst/>
                <a:gdLst>
                  <a:gd name="T0" fmla="*/ 28 w 28"/>
                  <a:gd name="T1" fmla="*/ 0 h 28"/>
                  <a:gd name="T2" fmla="*/ 0 w 28"/>
                  <a:gd name="T3" fmla="*/ 0 h 28"/>
                  <a:gd name="T4" fmla="*/ 0 w 28"/>
                  <a:gd name="T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8">
                    <a:moveTo>
                      <a:pt x="28" y="0"/>
                    </a:moveTo>
                    <a:lnTo>
                      <a:pt x="0" y="0"/>
                    </a:lnTo>
                    <a:lnTo>
                      <a:pt x="0" y="2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1" name="Freeform 117">
                <a:extLst>
                  <a:ext uri="{FF2B5EF4-FFF2-40B4-BE49-F238E27FC236}">
                    <a16:creationId xmlns:a16="http://schemas.microsoft.com/office/drawing/2014/main" id="{CAF7AED0-4261-4775-9051-15D3B1350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9826" y="2201864"/>
                <a:ext cx="44450" cy="44450"/>
              </a:xfrm>
              <a:custGeom>
                <a:avLst/>
                <a:gdLst>
                  <a:gd name="T0" fmla="*/ 28 w 28"/>
                  <a:gd name="T1" fmla="*/ 28 h 28"/>
                  <a:gd name="T2" fmla="*/ 28 w 28"/>
                  <a:gd name="T3" fmla="*/ 0 h 28"/>
                  <a:gd name="T4" fmla="*/ 0 w 2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8">
                    <a:moveTo>
                      <a:pt x="28" y="28"/>
                    </a:moveTo>
                    <a:lnTo>
                      <a:pt x="28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2" name="Freeform 118">
                <a:extLst>
                  <a:ext uri="{FF2B5EF4-FFF2-40B4-BE49-F238E27FC236}">
                    <a16:creationId xmlns:a16="http://schemas.microsoft.com/office/drawing/2014/main" id="{74B1FD30-601D-4B2D-AC42-60BA7BD21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9826" y="2443164"/>
                <a:ext cx="44450" cy="44450"/>
              </a:xfrm>
              <a:custGeom>
                <a:avLst/>
                <a:gdLst>
                  <a:gd name="T0" fmla="*/ 0 w 28"/>
                  <a:gd name="T1" fmla="*/ 28 h 28"/>
                  <a:gd name="T2" fmla="*/ 28 w 28"/>
                  <a:gd name="T3" fmla="*/ 28 h 28"/>
                  <a:gd name="T4" fmla="*/ 28 w 2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8">
                    <a:moveTo>
                      <a:pt x="0" y="28"/>
                    </a:moveTo>
                    <a:lnTo>
                      <a:pt x="28" y="28"/>
                    </a:lnTo>
                    <a:lnTo>
                      <a:pt x="28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3" name="Rectangle 119">
                <a:extLst>
                  <a:ext uri="{FF2B5EF4-FFF2-40B4-BE49-F238E27FC236}">
                    <a16:creationId xmlns:a16="http://schemas.microsoft.com/office/drawing/2014/main" id="{75D01756-2C23-42B2-90E3-AE2BCA118B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401" y="2262189"/>
                <a:ext cx="30163" cy="30163"/>
              </a:xfrm>
              <a:prstGeom prst="rect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4" name="Rectangle 120">
                <a:extLst>
                  <a:ext uri="{FF2B5EF4-FFF2-40B4-BE49-F238E27FC236}">
                    <a16:creationId xmlns:a16="http://schemas.microsoft.com/office/drawing/2014/main" id="{7F244ABC-DD64-4C1C-9601-06A8ECECF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401" y="2397126"/>
                <a:ext cx="30163" cy="30163"/>
              </a:xfrm>
              <a:prstGeom prst="rect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5" name="Rectangle 121">
                <a:extLst>
                  <a:ext uri="{FF2B5EF4-FFF2-40B4-BE49-F238E27FC236}">
                    <a16:creationId xmlns:a16="http://schemas.microsoft.com/office/drawing/2014/main" id="{6C30CC54-A18E-45D2-A828-A06F926636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99501" y="2262189"/>
                <a:ext cx="30163" cy="30163"/>
              </a:xfrm>
              <a:prstGeom prst="rect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6" name="Freeform 122">
                <a:extLst>
                  <a:ext uri="{FF2B5EF4-FFF2-40B4-BE49-F238E27FC236}">
                    <a16:creationId xmlns:a16="http://schemas.microsoft.com/office/drawing/2014/main" id="{D873C69B-A469-4DA1-A0B0-5007F6634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2322514"/>
                <a:ext cx="44450" cy="14288"/>
              </a:xfrm>
              <a:custGeom>
                <a:avLst/>
                <a:gdLst>
                  <a:gd name="T0" fmla="*/ 0 w 28"/>
                  <a:gd name="T1" fmla="*/ 0 h 9"/>
                  <a:gd name="T2" fmla="*/ 28 w 28"/>
                  <a:gd name="T3" fmla="*/ 0 h 9"/>
                  <a:gd name="T4" fmla="*/ 28 w 28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9">
                    <a:moveTo>
                      <a:pt x="0" y="0"/>
                    </a:moveTo>
                    <a:lnTo>
                      <a:pt x="28" y="0"/>
                    </a:lnTo>
                    <a:lnTo>
                      <a:pt x="28" y="9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7" name="Line 123">
                <a:extLst>
                  <a:ext uri="{FF2B5EF4-FFF2-40B4-BE49-F238E27FC236}">
                    <a16:creationId xmlns:a16="http://schemas.microsoft.com/office/drawing/2014/main" id="{A262D828-821D-4DC7-BA46-346980DED1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4401" y="2366964"/>
                <a:ext cx="6032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8" name="Freeform 124">
                <a:extLst>
                  <a:ext uri="{FF2B5EF4-FFF2-40B4-BE49-F238E27FC236}">
                    <a16:creationId xmlns:a16="http://schemas.microsoft.com/office/drawing/2014/main" id="{A8869A9E-85CC-4631-9F04-A961293C4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9338" y="2352676"/>
                <a:ext cx="60325" cy="74613"/>
              </a:xfrm>
              <a:custGeom>
                <a:avLst/>
                <a:gdLst>
                  <a:gd name="T0" fmla="*/ 19 w 38"/>
                  <a:gd name="T1" fmla="*/ 28 h 47"/>
                  <a:gd name="T2" fmla="*/ 38 w 38"/>
                  <a:gd name="T3" fmla="*/ 28 h 47"/>
                  <a:gd name="T4" fmla="*/ 38 w 38"/>
                  <a:gd name="T5" fmla="*/ 47 h 47"/>
                  <a:gd name="T6" fmla="*/ 0 w 38"/>
                  <a:gd name="T7" fmla="*/ 47 h 47"/>
                  <a:gd name="T8" fmla="*/ 0 w 38"/>
                  <a:gd name="T9" fmla="*/ 0 h 47"/>
                  <a:gd name="T10" fmla="*/ 38 w 38"/>
                  <a:gd name="T11" fmla="*/ 0 h 47"/>
                  <a:gd name="T12" fmla="*/ 38 w 38"/>
                  <a:gd name="T13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47">
                    <a:moveTo>
                      <a:pt x="19" y="28"/>
                    </a:moveTo>
                    <a:lnTo>
                      <a:pt x="38" y="28"/>
                    </a:lnTo>
                    <a:lnTo>
                      <a:pt x="38" y="47"/>
                    </a:lnTo>
                    <a:lnTo>
                      <a:pt x="0" y="47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9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79" name="Line 125">
                <a:extLst>
                  <a:ext uri="{FF2B5EF4-FFF2-40B4-BE49-F238E27FC236}">
                    <a16:creationId xmlns:a16="http://schemas.microsoft.com/office/drawing/2014/main" id="{5067D221-F580-4309-A751-F8895D76C5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624888" y="2352676"/>
                <a:ext cx="0" cy="1428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0" name="Line 126">
                <a:extLst>
                  <a:ext uri="{FF2B5EF4-FFF2-40B4-BE49-F238E27FC236}">
                    <a16:creationId xmlns:a16="http://schemas.microsoft.com/office/drawing/2014/main" id="{0932A8D3-4B7E-43F1-A5C2-6E25B0E753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669338" y="2262189"/>
                <a:ext cx="0" cy="14288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1" name="Line 127">
                <a:extLst>
                  <a:ext uri="{FF2B5EF4-FFF2-40B4-BE49-F238E27FC236}">
                    <a16:creationId xmlns:a16="http://schemas.microsoft.com/office/drawing/2014/main" id="{767450F3-F66D-4E16-BA61-B4D8FDBF6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624888" y="2397126"/>
                <a:ext cx="14288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2" name="Freeform 128">
                <a:extLst>
                  <a:ext uri="{FF2B5EF4-FFF2-40B4-BE49-F238E27FC236}">
                    <a16:creationId xmlns:a16="http://schemas.microsoft.com/office/drawing/2014/main" id="{36B4A6D7-02C2-461C-9258-62B3F43AE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4726" y="2397126"/>
                <a:ext cx="44450" cy="30163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3" name="Freeform 129">
                <a:extLst>
                  <a:ext uri="{FF2B5EF4-FFF2-40B4-BE49-F238E27FC236}">
                    <a16:creationId xmlns:a16="http://schemas.microsoft.com/office/drawing/2014/main" id="{871810A6-EE2D-43F5-A888-E45C72D85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4726" y="2262189"/>
                <a:ext cx="14288" cy="30163"/>
              </a:xfrm>
              <a:custGeom>
                <a:avLst/>
                <a:gdLst>
                  <a:gd name="T0" fmla="*/ 0 w 9"/>
                  <a:gd name="T1" fmla="*/ 0 h 19"/>
                  <a:gd name="T2" fmla="*/ 0 w 9"/>
                  <a:gd name="T3" fmla="*/ 19 h 19"/>
                  <a:gd name="T4" fmla="*/ 9 w 9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9">
                    <a:moveTo>
                      <a:pt x="0" y="0"/>
                    </a:moveTo>
                    <a:lnTo>
                      <a:pt x="0" y="19"/>
                    </a:lnTo>
                    <a:lnTo>
                      <a:pt x="9" y="19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4" name="Freeform 130">
                <a:extLst>
                  <a:ext uri="{FF2B5EF4-FFF2-40B4-BE49-F238E27FC236}">
                    <a16:creationId xmlns:a16="http://schemas.microsoft.com/office/drawing/2014/main" id="{514C0E46-47AE-43BF-BA5E-71C4529B7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9013" y="2262189"/>
                <a:ext cx="30163" cy="60325"/>
              </a:xfrm>
              <a:custGeom>
                <a:avLst/>
                <a:gdLst>
                  <a:gd name="T0" fmla="*/ 19 w 19"/>
                  <a:gd name="T1" fmla="*/ 0 h 38"/>
                  <a:gd name="T2" fmla="*/ 19 w 19"/>
                  <a:gd name="T3" fmla="*/ 38 h 38"/>
                  <a:gd name="T4" fmla="*/ 0 w 1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9" y="0"/>
                    </a:moveTo>
                    <a:lnTo>
                      <a:pt x="19" y="38"/>
                    </a:lnTo>
                    <a:lnTo>
                      <a:pt x="0" y="38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5" name="Line 131">
                <a:extLst>
                  <a:ext uri="{FF2B5EF4-FFF2-40B4-BE49-F238E27FC236}">
                    <a16:creationId xmlns:a16="http://schemas.microsoft.com/office/drawing/2014/main" id="{4888F378-3B91-43D4-A503-C5C317E886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69338" y="2322514"/>
                <a:ext cx="60325" cy="0"/>
              </a:xfrm>
              <a:prstGeom prst="line">
                <a:avLst/>
              </a:pr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1A2A2CC-1FC1-4747-B340-34C33347D30D}"/>
              </a:ext>
            </a:extLst>
          </p:cNvPr>
          <p:cNvGrpSpPr/>
          <p:nvPr/>
        </p:nvGrpSpPr>
        <p:grpSpPr>
          <a:xfrm>
            <a:off x="3292928" y="4041925"/>
            <a:ext cx="8262258" cy="674914"/>
            <a:chOff x="3292928" y="4367359"/>
            <a:chExt cx="8262258" cy="674914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8ED7618F-1FB8-489A-8023-CC2AAD715B02}"/>
                </a:ext>
              </a:extLst>
            </p:cNvPr>
            <p:cNvSpPr/>
            <p:nvPr/>
          </p:nvSpPr>
          <p:spPr>
            <a:xfrm>
              <a:off x="3292928" y="4367359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006EA9E-1593-494E-BC8E-6E7014752F49}"/>
                </a:ext>
              </a:extLst>
            </p:cNvPr>
            <p:cNvSpPr/>
            <p:nvPr/>
          </p:nvSpPr>
          <p:spPr>
            <a:xfrm>
              <a:off x="10863944" y="4367359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085A95F-5D6A-43A8-9033-CC9967F1A0C3}"/>
                </a:ext>
              </a:extLst>
            </p:cNvPr>
            <p:cNvSpPr/>
            <p:nvPr/>
          </p:nvSpPr>
          <p:spPr>
            <a:xfrm>
              <a:off x="3637643" y="4467490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ood and Beverages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curred the highest VAT of $2673.56.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5575F4B-3C62-457E-B757-3EC0BCCF0AE6}"/>
                </a:ext>
              </a:extLst>
            </p:cNvPr>
            <p:cNvGrpSpPr/>
            <p:nvPr/>
          </p:nvGrpSpPr>
          <p:grpSpPr>
            <a:xfrm>
              <a:off x="11036528" y="4544478"/>
              <a:ext cx="346075" cy="320676"/>
              <a:chOff x="2678113" y="2182813"/>
              <a:chExt cx="346075" cy="320676"/>
            </a:xfrm>
          </p:grpSpPr>
          <p:sp>
            <p:nvSpPr>
              <p:cNvPr id="87" name="Freeform 33">
                <a:extLst>
                  <a:ext uri="{FF2B5EF4-FFF2-40B4-BE49-F238E27FC236}">
                    <a16:creationId xmlns:a16="http://schemas.microsoft.com/office/drawing/2014/main" id="{67EBB5B2-E704-4EE4-9835-951E57C09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113" y="2182813"/>
                <a:ext cx="346075" cy="115888"/>
              </a:xfrm>
              <a:custGeom>
                <a:avLst/>
                <a:gdLst>
                  <a:gd name="T0" fmla="*/ 82 w 92"/>
                  <a:gd name="T1" fmla="*/ 5 h 31"/>
                  <a:gd name="T2" fmla="*/ 92 w 92"/>
                  <a:gd name="T3" fmla="*/ 17 h 31"/>
                  <a:gd name="T4" fmla="*/ 92 w 92"/>
                  <a:gd name="T5" fmla="*/ 23 h 31"/>
                  <a:gd name="T6" fmla="*/ 84 w 92"/>
                  <a:gd name="T7" fmla="*/ 31 h 31"/>
                  <a:gd name="T8" fmla="*/ 72 w 92"/>
                  <a:gd name="T9" fmla="*/ 31 h 31"/>
                  <a:gd name="T10" fmla="*/ 64 w 92"/>
                  <a:gd name="T11" fmla="*/ 23 h 31"/>
                  <a:gd name="T12" fmla="*/ 64 w 92"/>
                  <a:gd name="T13" fmla="*/ 19 h 31"/>
                  <a:gd name="T14" fmla="*/ 28 w 92"/>
                  <a:gd name="T15" fmla="*/ 19 h 31"/>
                  <a:gd name="T16" fmla="*/ 28 w 92"/>
                  <a:gd name="T17" fmla="*/ 23 h 31"/>
                  <a:gd name="T18" fmla="*/ 20 w 92"/>
                  <a:gd name="T19" fmla="*/ 31 h 31"/>
                  <a:gd name="T20" fmla="*/ 8 w 92"/>
                  <a:gd name="T21" fmla="*/ 31 h 31"/>
                  <a:gd name="T22" fmla="*/ 0 w 92"/>
                  <a:gd name="T23" fmla="*/ 23 h 31"/>
                  <a:gd name="T24" fmla="*/ 0 w 92"/>
                  <a:gd name="T25" fmla="*/ 17 h 31"/>
                  <a:gd name="T26" fmla="*/ 10 w 92"/>
                  <a:gd name="T27" fmla="*/ 5 h 31"/>
                  <a:gd name="T28" fmla="*/ 82 w 92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2" h="31">
                    <a:moveTo>
                      <a:pt x="82" y="5"/>
                    </a:moveTo>
                    <a:cubicBezTo>
                      <a:pt x="88" y="6"/>
                      <a:pt x="92" y="11"/>
                      <a:pt x="92" y="17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92" y="27"/>
                      <a:pt x="88" y="31"/>
                      <a:pt x="84" y="31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8" y="31"/>
                      <a:pt x="64" y="27"/>
                      <a:pt x="64" y="23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52" y="18"/>
                      <a:pt x="40" y="18"/>
                      <a:pt x="28" y="19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7"/>
                      <a:pt x="24" y="31"/>
                      <a:pt x="20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4" y="31"/>
                      <a:pt x="0" y="27"/>
                      <a:pt x="0" y="2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1"/>
                      <a:pt x="4" y="6"/>
                      <a:pt x="10" y="5"/>
                    </a:cubicBezTo>
                    <a:cubicBezTo>
                      <a:pt x="33" y="0"/>
                      <a:pt x="57" y="0"/>
                      <a:pt x="82" y="5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DF0F6A38-893F-43B3-A960-6601A9A0B4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2725" y="2352676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D8B8DBF-462B-4E0F-B6ED-20C74E5CBA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7338" y="2352676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32915367-F9E8-428B-809F-672DCAA079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3538" y="2352676"/>
                <a:ext cx="44450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621147A5-6820-43CC-B98A-69EFFBF377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2725" y="2413001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1FF9BB38-6CF7-40EF-A792-603BE9176B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7338" y="2413001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2B5C8787-36C2-4E2E-9ED6-C63B5360E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3538" y="2413001"/>
                <a:ext cx="44450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4CC32065-6BF1-4F10-BA28-C299216A3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2725" y="2473326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D657F48C-45CE-4E0D-954B-8DBA841F33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7338" y="2473326"/>
                <a:ext cx="46038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2F7BA28F-7659-436B-AC0A-30FDC098FD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3538" y="2473326"/>
                <a:ext cx="44450" cy="30163"/>
              </a:xfrm>
              <a:prstGeom prst="rect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2FDAB9-EAC2-4EB3-9790-FDCB4FD14587}"/>
              </a:ext>
            </a:extLst>
          </p:cNvPr>
          <p:cNvGrpSpPr/>
          <p:nvPr/>
        </p:nvGrpSpPr>
        <p:grpSpPr>
          <a:xfrm>
            <a:off x="3292928" y="4980348"/>
            <a:ext cx="8262258" cy="674914"/>
            <a:chOff x="3292928" y="5288958"/>
            <a:chExt cx="8262258" cy="674914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AEA35AD-F2E2-40D0-8AB7-91FC67A960AC}"/>
                </a:ext>
              </a:extLst>
            </p:cNvPr>
            <p:cNvSpPr/>
            <p:nvPr/>
          </p:nvSpPr>
          <p:spPr>
            <a:xfrm>
              <a:off x="3292928" y="5288958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5F0EFF86-B9CC-4ADF-B416-8320888C5A5C}"/>
                </a:ext>
              </a:extLst>
            </p:cNvPr>
            <p:cNvSpPr/>
            <p:nvPr/>
          </p:nvSpPr>
          <p:spPr>
            <a:xfrm>
              <a:off x="10863944" y="5288958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5E4D804-F497-49A8-B732-1E8EBCCCBEF3}"/>
                </a:ext>
              </a:extLst>
            </p:cNvPr>
            <p:cNvSpPr/>
            <p:nvPr/>
          </p:nvSpPr>
          <p:spPr>
            <a:xfrm>
              <a:off x="3637643" y="5389089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nly branch </a:t>
              </a:r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-Yangon City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which</a:t>
              </a:r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s exceeded the average product sold mark.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0BF7B9C-0B73-49B2-922E-9DAFEAFB618A}"/>
                </a:ext>
              </a:extLst>
            </p:cNvPr>
            <p:cNvGrpSpPr/>
            <p:nvPr/>
          </p:nvGrpSpPr>
          <p:grpSpPr>
            <a:xfrm>
              <a:off x="11036528" y="5453378"/>
              <a:ext cx="346075" cy="346075"/>
              <a:chOff x="8447088" y="5060951"/>
              <a:chExt cx="346075" cy="346075"/>
            </a:xfrm>
          </p:grpSpPr>
          <p:sp>
            <p:nvSpPr>
              <p:cNvPr id="98" name="Freeform 365">
                <a:extLst>
                  <a:ext uri="{FF2B5EF4-FFF2-40B4-BE49-F238E27FC236}">
                    <a16:creationId xmlns:a16="http://schemas.microsoft.com/office/drawing/2014/main" id="{A1DD21B6-76C3-44E0-A958-3078E8B90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3288" y="5121276"/>
                <a:ext cx="195263" cy="150813"/>
              </a:xfrm>
              <a:custGeom>
                <a:avLst/>
                <a:gdLst>
                  <a:gd name="T0" fmla="*/ 123 w 123"/>
                  <a:gd name="T1" fmla="*/ 95 h 95"/>
                  <a:gd name="T2" fmla="*/ 123 w 123"/>
                  <a:gd name="T3" fmla="*/ 19 h 95"/>
                  <a:gd name="T4" fmla="*/ 52 w 123"/>
                  <a:gd name="T5" fmla="*/ 19 h 95"/>
                  <a:gd name="T6" fmla="*/ 42 w 123"/>
                  <a:gd name="T7" fmla="*/ 0 h 95"/>
                  <a:gd name="T8" fmla="*/ 0 w 123"/>
                  <a:gd name="T9" fmla="*/ 0 h 95"/>
                  <a:gd name="T10" fmla="*/ 0 w 123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" h="95">
                    <a:moveTo>
                      <a:pt x="123" y="95"/>
                    </a:moveTo>
                    <a:lnTo>
                      <a:pt x="123" y="19"/>
                    </a:lnTo>
                    <a:lnTo>
                      <a:pt x="52" y="19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9" name="Freeform 366">
                <a:extLst>
                  <a:ext uri="{FF2B5EF4-FFF2-40B4-BE49-F238E27FC236}">
                    <a16:creationId xmlns:a16="http://schemas.microsoft.com/office/drawing/2014/main" id="{C9164BD3-1940-4590-9009-6492B4492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7575" y="5091113"/>
                <a:ext cx="165100" cy="30163"/>
              </a:xfrm>
              <a:custGeom>
                <a:avLst/>
                <a:gdLst>
                  <a:gd name="T0" fmla="*/ 104 w 104"/>
                  <a:gd name="T1" fmla="*/ 19 h 19"/>
                  <a:gd name="T2" fmla="*/ 52 w 104"/>
                  <a:gd name="T3" fmla="*/ 19 h 19"/>
                  <a:gd name="T4" fmla="*/ 43 w 104"/>
                  <a:gd name="T5" fmla="*/ 0 h 19"/>
                  <a:gd name="T6" fmla="*/ 0 w 10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4" h="19">
                    <a:moveTo>
                      <a:pt x="104" y="19"/>
                    </a:moveTo>
                    <a:lnTo>
                      <a:pt x="52" y="19"/>
                    </a:lnTo>
                    <a:lnTo>
                      <a:pt x="43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1" name="Freeform 367">
                <a:extLst>
                  <a:ext uri="{FF2B5EF4-FFF2-40B4-BE49-F238E27FC236}">
                    <a16:creationId xmlns:a16="http://schemas.microsoft.com/office/drawing/2014/main" id="{A5E35646-BDF6-41F5-B798-FBAB66F1D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3450" y="5060951"/>
                <a:ext cx="134938" cy="30163"/>
              </a:xfrm>
              <a:custGeom>
                <a:avLst/>
                <a:gdLst>
                  <a:gd name="T0" fmla="*/ 85 w 85"/>
                  <a:gd name="T1" fmla="*/ 19 h 19"/>
                  <a:gd name="T2" fmla="*/ 52 w 85"/>
                  <a:gd name="T3" fmla="*/ 19 h 19"/>
                  <a:gd name="T4" fmla="*/ 42 w 85"/>
                  <a:gd name="T5" fmla="*/ 0 h 19"/>
                  <a:gd name="T6" fmla="*/ 0 w 85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5" h="19">
                    <a:moveTo>
                      <a:pt x="85" y="19"/>
                    </a:moveTo>
                    <a:lnTo>
                      <a:pt x="52" y="19"/>
                    </a:lnTo>
                    <a:lnTo>
                      <a:pt x="42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2" name="Freeform 368">
                <a:extLst>
                  <a:ext uri="{FF2B5EF4-FFF2-40B4-BE49-F238E27FC236}">
                    <a16:creationId xmlns:a16="http://schemas.microsoft.com/office/drawing/2014/main" id="{BD7179BE-D950-44AF-AF57-063F8813F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7088" y="5302251"/>
                <a:ext cx="346075" cy="104775"/>
              </a:xfrm>
              <a:custGeom>
                <a:avLst/>
                <a:gdLst>
                  <a:gd name="T0" fmla="*/ 92 w 92"/>
                  <a:gd name="T1" fmla="*/ 28 h 28"/>
                  <a:gd name="T2" fmla="*/ 0 w 92"/>
                  <a:gd name="T3" fmla="*/ 28 h 28"/>
                  <a:gd name="T4" fmla="*/ 0 w 92"/>
                  <a:gd name="T5" fmla="*/ 0 h 28"/>
                  <a:gd name="T6" fmla="*/ 30 w 92"/>
                  <a:gd name="T7" fmla="*/ 0 h 28"/>
                  <a:gd name="T8" fmla="*/ 30 w 92"/>
                  <a:gd name="T9" fmla="*/ 4 h 28"/>
                  <a:gd name="T10" fmla="*/ 38 w 92"/>
                  <a:gd name="T11" fmla="*/ 12 h 28"/>
                  <a:gd name="T12" fmla="*/ 56 w 92"/>
                  <a:gd name="T13" fmla="*/ 12 h 28"/>
                  <a:gd name="T14" fmla="*/ 64 w 92"/>
                  <a:gd name="T15" fmla="*/ 4 h 28"/>
                  <a:gd name="T16" fmla="*/ 64 w 92"/>
                  <a:gd name="T17" fmla="*/ 0 h 28"/>
                  <a:gd name="T18" fmla="*/ 92 w 92"/>
                  <a:gd name="T19" fmla="*/ 0 h 28"/>
                  <a:gd name="T20" fmla="*/ 92 w 92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28">
                    <a:moveTo>
                      <a:pt x="92" y="28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8"/>
                      <a:pt x="34" y="12"/>
                      <a:pt x="38" y="12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60" y="12"/>
                      <a:pt x="64" y="8"/>
                      <a:pt x="64" y="4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92" y="0"/>
                      <a:pt x="92" y="0"/>
                      <a:pt x="92" y="0"/>
                    </a:cubicBezTo>
                    <a:lnTo>
                      <a:pt x="92" y="28"/>
                    </a:ln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7" name="Freeform 369">
                <a:extLst>
                  <a:ext uri="{FF2B5EF4-FFF2-40B4-BE49-F238E27FC236}">
                    <a16:creationId xmlns:a16="http://schemas.microsoft.com/office/drawing/2014/main" id="{50349FE7-5316-41C3-AA23-D24B316E32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7088" y="5211763"/>
                <a:ext cx="76200" cy="90488"/>
              </a:xfrm>
              <a:custGeom>
                <a:avLst/>
                <a:gdLst>
                  <a:gd name="T0" fmla="*/ 0 w 48"/>
                  <a:gd name="T1" fmla="*/ 57 h 57"/>
                  <a:gd name="T2" fmla="*/ 33 w 48"/>
                  <a:gd name="T3" fmla="*/ 0 h 57"/>
                  <a:gd name="T4" fmla="*/ 48 w 48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57">
                    <a:moveTo>
                      <a:pt x="0" y="57"/>
                    </a:moveTo>
                    <a:lnTo>
                      <a:pt x="33" y="0"/>
                    </a:lnTo>
                    <a:lnTo>
                      <a:pt x="48" y="0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8" name="Freeform 370">
                <a:extLst>
                  <a:ext uri="{FF2B5EF4-FFF2-40B4-BE49-F238E27FC236}">
                    <a16:creationId xmlns:a16="http://schemas.microsoft.com/office/drawing/2014/main" id="{1523C818-1B43-4F4D-BB5E-A45FD2A3FE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8550" y="5211763"/>
                <a:ext cx="74613" cy="90488"/>
              </a:xfrm>
              <a:custGeom>
                <a:avLst/>
                <a:gdLst>
                  <a:gd name="T0" fmla="*/ 0 w 47"/>
                  <a:gd name="T1" fmla="*/ 0 h 57"/>
                  <a:gd name="T2" fmla="*/ 14 w 47"/>
                  <a:gd name="T3" fmla="*/ 0 h 57"/>
                  <a:gd name="T4" fmla="*/ 47 w 47"/>
                  <a:gd name="T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7" h="57">
                    <a:moveTo>
                      <a:pt x="0" y="0"/>
                    </a:moveTo>
                    <a:lnTo>
                      <a:pt x="14" y="0"/>
                    </a:lnTo>
                    <a:lnTo>
                      <a:pt x="47" y="57"/>
                    </a:ln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09" name="Freeform 371">
                <a:extLst>
                  <a:ext uri="{FF2B5EF4-FFF2-40B4-BE49-F238E27FC236}">
                    <a16:creationId xmlns:a16="http://schemas.microsoft.com/office/drawing/2014/main" id="{77F1469D-8EB3-4E22-ADAB-F14F980F88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3613" y="5181601"/>
                <a:ext cx="88900" cy="90488"/>
              </a:xfrm>
              <a:custGeom>
                <a:avLst/>
                <a:gdLst>
                  <a:gd name="T0" fmla="*/ 16 w 24"/>
                  <a:gd name="T1" fmla="*/ 13 h 24"/>
                  <a:gd name="T2" fmla="*/ 19 w 24"/>
                  <a:gd name="T3" fmla="*/ 7 h 24"/>
                  <a:gd name="T4" fmla="*/ 12 w 24"/>
                  <a:gd name="T5" fmla="*/ 0 h 24"/>
                  <a:gd name="T6" fmla="*/ 5 w 24"/>
                  <a:gd name="T7" fmla="*/ 7 h 24"/>
                  <a:gd name="T8" fmla="*/ 8 w 24"/>
                  <a:gd name="T9" fmla="*/ 13 h 24"/>
                  <a:gd name="T10" fmla="*/ 0 w 24"/>
                  <a:gd name="T11" fmla="*/ 24 h 24"/>
                  <a:gd name="T12" fmla="*/ 24 w 24"/>
                  <a:gd name="T13" fmla="*/ 24 h 24"/>
                  <a:gd name="T14" fmla="*/ 16 w 24"/>
                  <a:gd name="T15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24">
                    <a:moveTo>
                      <a:pt x="16" y="13"/>
                    </a:moveTo>
                    <a:cubicBezTo>
                      <a:pt x="18" y="11"/>
                      <a:pt x="19" y="9"/>
                      <a:pt x="19" y="7"/>
                    </a:cubicBezTo>
                    <a:cubicBezTo>
                      <a:pt x="19" y="3"/>
                      <a:pt x="16" y="0"/>
                      <a:pt x="12" y="0"/>
                    </a:cubicBezTo>
                    <a:cubicBezTo>
                      <a:pt x="8" y="0"/>
                      <a:pt x="5" y="3"/>
                      <a:pt x="5" y="7"/>
                    </a:cubicBezTo>
                    <a:cubicBezTo>
                      <a:pt x="5" y="9"/>
                      <a:pt x="6" y="11"/>
                      <a:pt x="8" y="13"/>
                    </a:cubicBezTo>
                    <a:cubicBezTo>
                      <a:pt x="3" y="14"/>
                      <a:pt x="0" y="17"/>
                      <a:pt x="0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17"/>
                      <a:pt x="21" y="14"/>
                      <a:pt x="16" y="13"/>
                    </a:cubicBezTo>
                    <a:close/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DB2B026D-ED89-452F-AAB4-AE7AFCFB3785}"/>
              </a:ext>
            </a:extLst>
          </p:cNvPr>
          <p:cNvSpPr/>
          <p:nvPr/>
        </p:nvSpPr>
        <p:spPr>
          <a:xfrm>
            <a:off x="3292928" y="3103501"/>
            <a:ext cx="8262258" cy="6749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D8D41C9-DC69-493D-A28E-5169909410D3}"/>
              </a:ext>
            </a:extLst>
          </p:cNvPr>
          <p:cNvSpPr/>
          <p:nvPr/>
        </p:nvSpPr>
        <p:spPr>
          <a:xfrm>
            <a:off x="10863944" y="3103501"/>
            <a:ext cx="691242" cy="674914"/>
          </a:xfrm>
          <a:prstGeom prst="round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731DC4DD-BD62-47E1-9142-1DD02071653D}"/>
              </a:ext>
            </a:extLst>
          </p:cNvPr>
          <p:cNvSpPr/>
          <p:nvPr/>
        </p:nvSpPr>
        <p:spPr>
          <a:xfrm>
            <a:off x="3637643" y="3203632"/>
            <a:ext cx="5386614" cy="474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1600" b="1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les</a:t>
            </a:r>
            <a:r>
              <a:rPr lang="en-US" sz="1600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re mostly buying </a:t>
            </a:r>
            <a:r>
              <a:rPr lang="en-US" sz="1600" b="1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th and Beauty</a:t>
            </a:r>
            <a:r>
              <a:rPr lang="en-US" sz="1600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roducts.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F705917-DB5B-4084-A6CB-68F3EBE56B1E}"/>
              </a:ext>
            </a:extLst>
          </p:cNvPr>
          <p:cNvSpPr/>
          <p:nvPr/>
        </p:nvSpPr>
        <p:spPr>
          <a:xfrm>
            <a:off x="667657" y="3786081"/>
            <a:ext cx="2042886" cy="774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C0D9B26A-8AFA-4702-BFA4-AC6CDC77C531}"/>
              </a:ext>
            </a:extLst>
          </p:cNvPr>
          <p:cNvGrpSpPr/>
          <p:nvPr/>
        </p:nvGrpSpPr>
        <p:grpSpPr>
          <a:xfrm>
            <a:off x="11081771" y="3267921"/>
            <a:ext cx="255588" cy="346075"/>
            <a:chOff x="5607051" y="2173289"/>
            <a:chExt cx="255588" cy="346075"/>
          </a:xfrm>
        </p:grpSpPr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FABBD7CD-E5C4-42C0-B858-16151C36A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1" y="2217739"/>
              <a:ext cx="90488" cy="180975"/>
            </a:xfrm>
            <a:custGeom>
              <a:avLst/>
              <a:gdLst>
                <a:gd name="T0" fmla="*/ 57 w 57"/>
                <a:gd name="T1" fmla="*/ 114 h 114"/>
                <a:gd name="T2" fmla="*/ 29 w 57"/>
                <a:gd name="T3" fmla="*/ 85 h 114"/>
                <a:gd name="T4" fmla="*/ 0 w 57"/>
                <a:gd name="T5" fmla="*/ 114 h 114"/>
                <a:gd name="T6" fmla="*/ 0 w 57"/>
                <a:gd name="T7" fmla="*/ 0 h 114"/>
                <a:gd name="T8" fmla="*/ 57 w 57"/>
                <a:gd name="T9" fmla="*/ 0 h 114"/>
                <a:gd name="T10" fmla="*/ 57 w 57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14">
                  <a:moveTo>
                    <a:pt x="57" y="114"/>
                  </a:moveTo>
                  <a:lnTo>
                    <a:pt x="29" y="85"/>
                  </a:lnTo>
                  <a:lnTo>
                    <a:pt x="0" y="114"/>
                  </a:lnTo>
                  <a:lnTo>
                    <a:pt x="0" y="0"/>
                  </a:lnTo>
                  <a:lnTo>
                    <a:pt x="57" y="0"/>
                  </a:lnTo>
                  <a:lnTo>
                    <a:pt x="57" y="114"/>
                  </a:lnTo>
                  <a:close/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DF78348B-48FF-4CDD-BB6E-11F7F2004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1" y="2203451"/>
              <a:ext cx="255588" cy="315913"/>
            </a:xfrm>
            <a:custGeom>
              <a:avLst/>
              <a:gdLst>
                <a:gd name="T0" fmla="*/ 56 w 68"/>
                <a:gd name="T1" fmla="*/ 8 h 84"/>
                <a:gd name="T2" fmla="*/ 68 w 68"/>
                <a:gd name="T3" fmla="*/ 8 h 84"/>
                <a:gd name="T4" fmla="*/ 68 w 68"/>
                <a:gd name="T5" fmla="*/ 84 h 84"/>
                <a:gd name="T6" fmla="*/ 8 w 68"/>
                <a:gd name="T7" fmla="*/ 84 h 84"/>
                <a:gd name="T8" fmla="*/ 0 w 68"/>
                <a:gd name="T9" fmla="*/ 76 h 84"/>
                <a:gd name="T10" fmla="*/ 0 w 68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4">
                  <a:moveTo>
                    <a:pt x="56" y="8"/>
                  </a:moveTo>
                  <a:cubicBezTo>
                    <a:pt x="68" y="8"/>
                    <a:pt x="68" y="8"/>
                    <a:pt x="68" y="8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4" y="84"/>
                    <a:pt x="0" y="80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EB974DD0-D84F-4D53-88F5-B0863776C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1" y="2173289"/>
              <a:ext cx="241300" cy="60325"/>
            </a:xfrm>
            <a:custGeom>
              <a:avLst/>
              <a:gdLst>
                <a:gd name="T0" fmla="*/ 64 w 64"/>
                <a:gd name="T1" fmla="*/ 16 h 16"/>
                <a:gd name="T2" fmla="*/ 64 w 64"/>
                <a:gd name="T3" fmla="*/ 0 h 16"/>
                <a:gd name="T4" fmla="*/ 8 w 64"/>
                <a:gd name="T5" fmla="*/ 0 h 16"/>
                <a:gd name="T6" fmla="*/ 0 w 64"/>
                <a:gd name="T7" fmla="*/ 8 h 16"/>
                <a:gd name="T8" fmla="*/ 8 w 64"/>
                <a:gd name="T9" fmla="*/ 16 h 16"/>
                <a:gd name="T10" fmla="*/ 32 w 64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16">
                  <a:moveTo>
                    <a:pt x="64" y="16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32" y="16"/>
                    <a:pt x="32" y="16"/>
                    <a:pt x="32" y="16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4" name="Picture 103">
            <a:extLst>
              <a:ext uri="{FF2B5EF4-FFF2-40B4-BE49-F238E27FC236}">
                <a16:creationId xmlns:a16="http://schemas.microsoft.com/office/drawing/2014/main" id="{B0C8F0B7-5C70-4F4B-B602-F49FD5F217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80" y="3998497"/>
            <a:ext cx="1374040" cy="41448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C5D030A-2059-6A71-3258-151F75D4A525}"/>
              </a:ext>
            </a:extLst>
          </p:cNvPr>
          <p:cNvGrpSpPr/>
          <p:nvPr/>
        </p:nvGrpSpPr>
        <p:grpSpPr>
          <a:xfrm>
            <a:off x="3296738" y="5915599"/>
            <a:ext cx="8262258" cy="674914"/>
            <a:chOff x="3292928" y="914157"/>
            <a:chExt cx="8262258" cy="67491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8F11076D-083C-8717-5F40-66B9754AFB96}"/>
                </a:ext>
              </a:extLst>
            </p:cNvPr>
            <p:cNvSpPr/>
            <p:nvPr/>
          </p:nvSpPr>
          <p:spPr>
            <a:xfrm>
              <a:off x="3292928" y="914157"/>
              <a:ext cx="8262258" cy="67491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A7CF2AE9-89AE-16A5-8A96-D7B4E0B555EA}"/>
                </a:ext>
              </a:extLst>
            </p:cNvPr>
            <p:cNvSpPr/>
            <p:nvPr/>
          </p:nvSpPr>
          <p:spPr>
            <a:xfrm>
              <a:off x="10863944" y="914157"/>
              <a:ext cx="691242" cy="674914"/>
            </a:xfrm>
            <a:prstGeom prst="roundRect">
              <a:avLst/>
            </a:prstGeom>
            <a:solidFill>
              <a:srgbClr val="FE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C82CCC1-D67E-D402-CE81-631DE7554211}"/>
                </a:ext>
              </a:extLst>
            </p:cNvPr>
            <p:cNvSpPr/>
            <p:nvPr/>
          </p:nvSpPr>
          <p:spPr>
            <a:xfrm>
              <a:off x="3637643" y="1014288"/>
              <a:ext cx="5386614" cy="4746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sz="1600" b="1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fternoon </a:t>
              </a:r>
              <a:r>
                <a:rPr lang="en-US" sz="1600" dirty="0">
                  <a:solidFill>
                    <a:srgbClr val="232F3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s the most selling time period of a day and also getting highest ratings.</a:t>
              </a:r>
              <a:endParaRPr lang="en-US" sz="1600" b="1" dirty="0">
                <a:solidFill>
                  <a:srgbClr val="232F3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D444499-6C93-9987-B954-CC7F3096693C}"/>
                </a:ext>
              </a:extLst>
            </p:cNvPr>
            <p:cNvGrpSpPr/>
            <p:nvPr/>
          </p:nvGrpSpPr>
          <p:grpSpPr>
            <a:xfrm>
              <a:off x="11044465" y="1077783"/>
              <a:ext cx="330201" cy="347663"/>
              <a:chOff x="4870450" y="3619500"/>
              <a:chExt cx="330201" cy="347663"/>
            </a:xfrm>
          </p:grpSpPr>
          <p:sp>
            <p:nvSpPr>
              <p:cNvPr id="11" name="Freeform 113">
                <a:extLst>
                  <a:ext uri="{FF2B5EF4-FFF2-40B4-BE49-F238E27FC236}">
                    <a16:creationId xmlns:a16="http://schemas.microsoft.com/office/drawing/2014/main" id="{49682E23-5CBC-C540-8802-10527E2DC7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5063" y="3694113"/>
                <a:ext cx="255588" cy="242888"/>
              </a:xfrm>
              <a:custGeom>
                <a:avLst/>
                <a:gdLst>
                  <a:gd name="T0" fmla="*/ 68 w 68"/>
                  <a:gd name="T1" fmla="*/ 38 h 64"/>
                  <a:gd name="T2" fmla="*/ 68 w 68"/>
                  <a:gd name="T3" fmla="*/ 7 h 64"/>
                  <a:gd name="T4" fmla="*/ 61 w 68"/>
                  <a:gd name="T5" fmla="*/ 0 h 64"/>
                  <a:gd name="T6" fmla="*/ 7 w 68"/>
                  <a:gd name="T7" fmla="*/ 0 h 64"/>
                  <a:gd name="T8" fmla="*/ 0 w 68"/>
                  <a:gd name="T9" fmla="*/ 7 h 64"/>
                  <a:gd name="T10" fmla="*/ 0 w 68"/>
                  <a:gd name="T11" fmla="*/ 57 h 64"/>
                  <a:gd name="T12" fmla="*/ 7 w 68"/>
                  <a:gd name="T13" fmla="*/ 64 h 64"/>
                  <a:gd name="T14" fmla="*/ 22 w 68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64">
                    <a:moveTo>
                      <a:pt x="68" y="38"/>
                    </a:moveTo>
                    <a:cubicBezTo>
                      <a:pt x="68" y="7"/>
                      <a:pt x="68" y="7"/>
                      <a:pt x="68" y="7"/>
                    </a:cubicBezTo>
                    <a:cubicBezTo>
                      <a:pt x="68" y="3"/>
                      <a:pt x="65" y="0"/>
                      <a:pt x="6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1"/>
                      <a:pt x="3" y="64"/>
                      <a:pt x="7" y="64"/>
                    </a:cubicBezTo>
                    <a:cubicBezTo>
                      <a:pt x="22" y="64"/>
                      <a:pt x="22" y="64"/>
                      <a:pt x="22" y="64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" name="Freeform 114">
                <a:extLst>
                  <a:ext uri="{FF2B5EF4-FFF2-40B4-BE49-F238E27FC236}">
                    <a16:creationId xmlns:a16="http://schemas.microsoft.com/office/drawing/2014/main" id="{4A025438-3AC1-C491-FB4D-3748E8C30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7613" y="3770313"/>
                <a:ext cx="173038" cy="196850"/>
              </a:xfrm>
              <a:custGeom>
                <a:avLst/>
                <a:gdLst>
                  <a:gd name="T0" fmla="*/ 18 w 46"/>
                  <a:gd name="T1" fmla="*/ 4 h 52"/>
                  <a:gd name="T2" fmla="*/ 22 w 46"/>
                  <a:gd name="T3" fmla="*/ 0 h 52"/>
                  <a:gd name="T4" fmla="*/ 26 w 46"/>
                  <a:gd name="T5" fmla="*/ 4 h 52"/>
                  <a:gd name="T6" fmla="*/ 26 w 46"/>
                  <a:gd name="T7" fmla="*/ 23 h 52"/>
                  <a:gd name="T8" fmla="*/ 42 w 46"/>
                  <a:gd name="T9" fmla="*/ 28 h 52"/>
                  <a:gd name="T10" fmla="*/ 45 w 46"/>
                  <a:gd name="T11" fmla="*/ 34 h 52"/>
                  <a:gd name="T12" fmla="*/ 45 w 46"/>
                  <a:gd name="T13" fmla="*/ 35 h 52"/>
                  <a:gd name="T14" fmla="*/ 42 w 46"/>
                  <a:gd name="T15" fmla="*/ 52 h 52"/>
                  <a:gd name="T16" fmla="*/ 18 w 46"/>
                  <a:gd name="T17" fmla="*/ 52 h 52"/>
                  <a:gd name="T18" fmla="*/ 5 w 46"/>
                  <a:gd name="T19" fmla="*/ 34 h 52"/>
                  <a:gd name="T20" fmla="*/ 18 w 46"/>
                  <a:gd name="T21" fmla="*/ 36 h 52"/>
                  <a:gd name="T22" fmla="*/ 18 w 46"/>
                  <a:gd name="T23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2">
                    <a:moveTo>
                      <a:pt x="18" y="4"/>
                    </a:moveTo>
                    <a:cubicBezTo>
                      <a:pt x="18" y="2"/>
                      <a:pt x="20" y="0"/>
                      <a:pt x="22" y="0"/>
                    </a:cubicBezTo>
                    <a:cubicBezTo>
                      <a:pt x="24" y="0"/>
                      <a:pt x="26" y="2"/>
                      <a:pt x="26" y="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44" y="28"/>
                      <a:pt x="46" y="31"/>
                      <a:pt x="45" y="34"/>
                    </a:cubicBezTo>
                    <a:cubicBezTo>
                      <a:pt x="45" y="35"/>
                      <a:pt x="45" y="35"/>
                      <a:pt x="45" y="35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0" y="26"/>
                      <a:pt x="12" y="24"/>
                      <a:pt x="18" y="36"/>
                    </a:cubicBezTo>
                    <a:lnTo>
                      <a:pt x="18" y="4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9" name="Line 115">
                <a:extLst>
                  <a:ext uri="{FF2B5EF4-FFF2-40B4-BE49-F238E27FC236}">
                    <a16:creationId xmlns:a16="http://schemas.microsoft.com/office/drawing/2014/main" id="{37DC64FC-EDD0-E6E2-DC80-649AEAA8C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45063" y="3740150"/>
                <a:ext cx="255588" cy="0"/>
              </a:xfrm>
              <a:prstGeom prst="line">
                <a:avLst/>
              </a:prstGeom>
              <a:noFill/>
              <a:ln w="14288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" name="Freeform 116">
                <a:extLst>
                  <a:ext uri="{FF2B5EF4-FFF2-40B4-BE49-F238E27FC236}">
                    <a16:creationId xmlns:a16="http://schemas.microsoft.com/office/drawing/2014/main" id="{1864927E-516A-D9E0-5388-F1C6BB7DA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6963" y="3656013"/>
                <a:ext cx="46038" cy="46038"/>
              </a:xfrm>
              <a:custGeom>
                <a:avLst/>
                <a:gdLst>
                  <a:gd name="T0" fmla="*/ 0 w 12"/>
                  <a:gd name="T1" fmla="*/ 12 h 12"/>
                  <a:gd name="T2" fmla="*/ 12 w 12"/>
                  <a:gd name="T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" h="12">
                    <a:moveTo>
                      <a:pt x="0" y="12"/>
                    </a:moveTo>
                    <a:cubicBezTo>
                      <a:pt x="0" y="5"/>
                      <a:pt x="5" y="0"/>
                      <a:pt x="12" y="0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117">
                <a:extLst>
                  <a:ext uri="{FF2B5EF4-FFF2-40B4-BE49-F238E27FC236}">
                    <a16:creationId xmlns:a16="http://schemas.microsoft.com/office/drawing/2014/main" id="{B5B0565B-15E8-AB9D-1255-9E5D96295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0450" y="3619500"/>
                <a:ext cx="82550" cy="82550"/>
              </a:xfrm>
              <a:custGeom>
                <a:avLst/>
                <a:gdLst>
                  <a:gd name="T0" fmla="*/ 0 w 22"/>
                  <a:gd name="T1" fmla="*/ 22 h 22"/>
                  <a:gd name="T2" fmla="*/ 22 w 22"/>
                  <a:gd name="T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" h="22">
                    <a:moveTo>
                      <a:pt x="0" y="22"/>
                    </a:moveTo>
                    <a:cubicBezTo>
                      <a:pt x="0" y="10"/>
                      <a:pt x="10" y="0"/>
                      <a:pt x="22" y="0"/>
                    </a:cubicBezTo>
                  </a:path>
                </a:pathLst>
              </a:custGeom>
              <a:noFill/>
              <a:ln w="142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1907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Box 50"/>
          <p:cNvSpPr txBox="1"/>
          <p:nvPr/>
        </p:nvSpPr>
        <p:spPr>
          <a:xfrm>
            <a:off x="5572458" y="4774358"/>
            <a:ext cx="10470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832684" y="1371075"/>
            <a:ext cx="2360745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ln w="22225">
                  <a:noFill/>
                </a:ln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(A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u="sng" dirty="0">
                <a:ln w="22225">
                  <a:noFill/>
                </a:ln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Yangon</a:t>
            </a:r>
            <a:endParaRPr kumimoji="0" lang="en-US" sz="4800" b="1" i="0" u="sng" strike="noStrike" kern="1200" cap="none" spc="0" normalizeH="0" baseline="0" noProof="0" dirty="0">
              <a:ln w="22225"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3014577"/>
            <a:ext cx="2956009" cy="14007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~Friday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over 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31</a:t>
            </a: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b="1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~Afternoon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over 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3250084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4431495" y="1371073"/>
            <a:ext cx="2921805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ln w="22225">
                  <a:noFill/>
                </a:ln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(B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u="sng" dirty="0">
                <a:ln w="22225">
                  <a:noFill/>
                </a:ln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Mandalay</a:t>
            </a:r>
            <a:endParaRPr kumimoji="0" lang="en-US" sz="4800" b="1" u="sng" strike="noStrike" kern="1200" cap="none" spc="0" normalizeH="0" baseline="0" noProof="0" dirty="0">
              <a:ln w="22225"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4468058" y="3014577"/>
            <a:ext cx="3704392" cy="14007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Monday 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over 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33</a:t>
            </a: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~Morning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ove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.80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999427" y="1217205"/>
            <a:ext cx="3899055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8341300" y="1367030"/>
            <a:ext cx="3496829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(C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Naypyitaw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8591366" y="3037437"/>
            <a:ext cx="3087095" cy="14007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Friday 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over 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27</a:t>
            </a: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Evening </a:t>
            </a:r>
            <a:r>
              <a:rPr lang="en-US" sz="16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over </a:t>
            </a:r>
            <a:r>
              <a:rPr lang="en-US" sz="16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8058150" y="1217205"/>
            <a:ext cx="3903445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9</TotalTime>
  <Words>546</Words>
  <Application>Microsoft Office PowerPoint</Application>
  <PresentationFormat>Widescreen</PresentationFormat>
  <Paragraphs>15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Segoe UI</vt:lpstr>
      <vt:lpstr>Office Theme</vt:lpstr>
      <vt:lpstr>1_Office Theme</vt:lpstr>
      <vt:lpstr>think-cell Slide</vt:lpstr>
      <vt:lpstr>Amazon Dataset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ck Powerpoint Template</dc:title>
  <dc:creator>it 24slides3</dc:creator>
  <cp:lastModifiedBy>Saptarshi Sarkar</cp:lastModifiedBy>
  <cp:revision>14</cp:revision>
  <dcterms:created xsi:type="dcterms:W3CDTF">2022-01-20T05:04:38Z</dcterms:created>
  <dcterms:modified xsi:type="dcterms:W3CDTF">2024-05-16T17:22:48Z</dcterms:modified>
</cp:coreProperties>
</file>